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63" r:id="rId4"/>
    <p:sldMasterId id="2147483648" r:id="rId5"/>
  </p:sldMasterIdLst>
  <p:notesMasterIdLst>
    <p:notesMasterId r:id="rId9"/>
  </p:notesMasterIdLst>
  <p:handoutMasterIdLst>
    <p:handoutMasterId r:id="rId10"/>
  </p:handoutMasterIdLst>
  <p:sldIdLst>
    <p:sldId id="2146849505" r:id="rId6"/>
    <p:sldId id="2146849506" r:id="rId7"/>
    <p:sldId id="2146849507" r:id="rId8"/>
  </p:sldIdLst>
  <p:sldSz cx="12192000" cy="6858000"/>
  <p:notesSz cx="7086600" cy="93726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6EF661F-8902-46D8-AD6B-B1667D026C67}">
          <p14:sldIdLst>
            <p14:sldId id="2146849505"/>
            <p14:sldId id="2146849506"/>
            <p14:sldId id="21468495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nrette, Tom" initials="JT" lastIdx="5" clrIdx="0">
    <p:extLst>
      <p:ext uri="{19B8F6BF-5375-455C-9EA6-DF929625EA0E}">
        <p15:presenceInfo xmlns:p15="http://schemas.microsoft.com/office/powerpoint/2012/main" userId="S::tom.jenrette@accenture.com::12e5e752-449f-44e8-af0d-60209dddb0c5" providerId="AD"/>
      </p:ext>
    </p:extLst>
  </p:cmAuthor>
  <p:cmAuthor id="2" name="Shultz, Jennifer K." initials="SJK" lastIdx="1" clrIdx="1">
    <p:extLst>
      <p:ext uri="{19B8F6BF-5375-455C-9EA6-DF929625EA0E}">
        <p15:presenceInfo xmlns:p15="http://schemas.microsoft.com/office/powerpoint/2012/main" userId="S::jennifer.k.shultz@accenture.com::4abfc690-7b02-4a10-81e8-9f51ed399030" providerId="AD"/>
      </p:ext>
    </p:extLst>
  </p:cmAuthor>
  <p:cmAuthor id="3" name="Andres, Cathleen E." initials="ACE" lastIdx="7" clrIdx="2">
    <p:extLst>
      <p:ext uri="{19B8F6BF-5375-455C-9EA6-DF929625EA0E}">
        <p15:presenceInfo xmlns:p15="http://schemas.microsoft.com/office/powerpoint/2012/main" userId="S::cathleen.e.andres@accenture.com::cee938a1-9172-4267-bb46-c9d267464a72" providerId="AD"/>
      </p:ext>
    </p:extLst>
  </p:cmAuthor>
  <p:cmAuthor id="4" name="Bayyouk, Michael" initials="BM" lastIdx="8" clrIdx="3">
    <p:extLst>
      <p:ext uri="{19B8F6BF-5375-455C-9EA6-DF929625EA0E}">
        <p15:presenceInfo xmlns:p15="http://schemas.microsoft.com/office/powerpoint/2012/main" userId="S::michael.bayyouk@accenture.com::1e909cb3-6a8e-4678-95e1-0a689ef8d16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BB00FF"/>
    <a:srgbClr val="C6C6C6"/>
    <a:srgbClr val="B900FC"/>
    <a:srgbClr val="CC0099"/>
    <a:srgbClr val="7500C0"/>
    <a:srgbClr val="710012"/>
    <a:srgbClr val="00BAFF"/>
    <a:srgbClr val="004DFF"/>
    <a:srgbClr val="008E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A333F4-8AE7-7813-E9D4-8FF033FF95C6}" v="4" dt="2022-01-16T11:35:08.681"/>
    <p1510:client id="{12F6B97D-BA7A-7825-C513-671347CA8F62}" v="384" dt="2022-01-14T09:28:21.600"/>
    <p1510:client id="{19573FA4-F5B4-AEFA-1DB8-4C23309A3EE4}" v="1554" dt="2022-01-16T11:32:33.824"/>
    <p1510:client id="{21F80CE8-C293-EE07-CEA3-B99D6CE711D2}" v="4" dt="2022-01-16T11:34:21.627"/>
    <p1510:client id="{270A9FA2-CA79-7405-7FDC-483B5699AD24}" v="1559" dt="2022-01-14T09:29:11.442"/>
    <p1510:client id="{35809B58-ABA2-8C39-D2A2-E00D320D84B2}" v="16" dt="2022-01-20T10:00:13.091"/>
    <p1510:client id="{57A50FEA-96FF-0D6D-8178-F3200372183A}" v="5" dt="2022-01-16T11:33:44.141"/>
    <p1510:client id="{E107EE43-C866-6581-8B21-8914E2C5365B}" v="2" dt="2022-01-17T11:16:22.128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108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cBride, John E." userId="S::john.e.mcbride@accenture.com::e2bd5f02-a4a3-4ae9-aa41-45c430154773" providerId="AD" clId="Web-{35809B58-ABA2-8C39-D2A2-E00D320D84B2}"/>
    <pc:docChg chg="delSld modSection">
      <pc:chgData name="McBride, John E." userId="S::john.e.mcbride@accenture.com::e2bd5f02-a4a3-4ae9-aa41-45c430154773" providerId="AD" clId="Web-{35809B58-ABA2-8C39-D2A2-E00D320D84B2}" dt="2022-01-20T10:00:13.091" v="15"/>
      <pc:docMkLst>
        <pc:docMk/>
      </pc:docMkLst>
      <pc:sldChg chg="del">
        <pc:chgData name="McBride, John E." userId="S::john.e.mcbride@accenture.com::e2bd5f02-a4a3-4ae9-aa41-45c430154773" providerId="AD" clId="Web-{35809B58-ABA2-8C39-D2A2-E00D320D84B2}" dt="2022-01-20T10:00:13.091" v="15"/>
        <pc:sldMkLst>
          <pc:docMk/>
          <pc:sldMk cId="797434513" sldId="257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60" v="13"/>
        <pc:sldMkLst>
          <pc:docMk/>
          <pc:sldMk cId="1860842523" sldId="2146849142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35" v="3"/>
        <pc:sldMkLst>
          <pc:docMk/>
          <pc:sldMk cId="3031714384" sldId="2146849188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19" v="2"/>
        <pc:sldMkLst>
          <pc:docMk/>
          <pc:sldMk cId="716703573" sldId="2146849189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04" v="1"/>
        <pc:sldMkLst>
          <pc:docMk/>
          <pc:sldMk cId="3949829644" sldId="2146849190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888" v="0"/>
        <pc:sldMkLst>
          <pc:docMk/>
          <pc:sldMk cId="1994774042" sldId="2146849191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75" v="14"/>
        <pc:sldMkLst>
          <pc:docMk/>
          <pc:sldMk cId="257762540" sldId="2146849195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29" v="10"/>
        <pc:sldMkLst>
          <pc:docMk/>
          <pc:sldMk cId="3836452134" sldId="2146849445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66" v="5"/>
        <pc:sldMkLst>
          <pc:docMk/>
          <pc:sldMk cId="3989936281" sldId="2146849448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97" v="8"/>
        <pc:sldMkLst>
          <pc:docMk/>
          <pc:sldMk cId="3554283071" sldId="2146849453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82" v="6"/>
        <pc:sldMkLst>
          <pc:docMk/>
          <pc:sldMk cId="518603038" sldId="2146849485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35" v="4"/>
        <pc:sldMkLst>
          <pc:docMk/>
          <pc:sldMk cId="1816165931" sldId="2146849486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2.982" v="7"/>
        <pc:sldMkLst>
          <pc:docMk/>
          <pc:sldMk cId="2313240122" sldId="2146849490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29" v="12"/>
        <pc:sldMkLst>
          <pc:docMk/>
          <pc:sldMk cId="116495793" sldId="2146849498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29" v="11"/>
        <pc:sldMkLst>
          <pc:docMk/>
          <pc:sldMk cId="3842921356" sldId="2146849500"/>
        </pc:sldMkLst>
      </pc:sldChg>
      <pc:sldChg chg="del">
        <pc:chgData name="McBride, John E." userId="S::john.e.mcbride@accenture.com::e2bd5f02-a4a3-4ae9-aa41-45c430154773" providerId="AD" clId="Web-{35809B58-ABA2-8C39-D2A2-E00D320D84B2}" dt="2022-01-20T10:00:13.013" v="9"/>
        <pc:sldMkLst>
          <pc:docMk/>
          <pc:sldMk cId="844238523" sldId="2146849504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800" cy="458943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9841" y="0"/>
            <a:ext cx="2975800" cy="458943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8157"/>
            <a:ext cx="2975800" cy="458942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9841" y="8688157"/>
            <a:ext cx="2975800" cy="458942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800" cy="458943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l">
              <a:defRPr sz="1200"/>
            </a:lvl1pPr>
          </a:lstStyle>
          <a:p>
            <a:r>
              <a:rPr lang="en-US"/>
              <a:t>School of Tech Futur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9841" y="0"/>
            <a:ext cx="2975800" cy="458943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r">
              <a:defRPr sz="1200"/>
            </a:lvl1pPr>
          </a:lstStyle>
          <a:p>
            <a:r>
              <a:rPr lang="en-US"/>
              <a:t>Full Stack Solution Engineering - AWS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6952" y="629833"/>
            <a:ext cx="5503311" cy="309541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4" tIns="45752" rIns="91504" bIns="4575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3275" y="4086655"/>
            <a:ext cx="5610664" cy="4107572"/>
          </a:xfrm>
          <a:prstGeom prst="rect">
            <a:avLst/>
          </a:prstGeom>
        </p:spPr>
        <p:txBody>
          <a:bodyPr vert="horz" lIns="91504" tIns="45752" rIns="91504" bIns="4575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8157"/>
            <a:ext cx="2975800" cy="458942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l">
              <a:defRPr sz="1200"/>
            </a:lvl1pPr>
          </a:lstStyle>
          <a:p>
            <a:r>
              <a:rPr lang="en-US"/>
              <a:t>Faculty Guid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9841" y="8688157"/>
            <a:ext cx="2975800" cy="458942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0.sv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C8FDB24-DF8F-4ACC-9487-5B599DD4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3600" b="0" kern="1200" cap="none" baseline="0" dirty="0">
                <a:solidFill>
                  <a:schemeClr val="tx1"/>
                </a:solidFill>
                <a:latin typeface="Graphik Medium" panose="020B06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928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ption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67B93-5503-49C7-ADB5-EF3AECD1A8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973137"/>
            <a:ext cx="6426200" cy="969963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6000" cap="none">
                <a:solidFill>
                  <a:schemeClr val="bg1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Agenda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81D7988-71CF-428B-BB8C-370DA30344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913" y="2400464"/>
            <a:ext cx="871267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D052618-531B-4841-A43B-6710A5FB01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5086" y="255331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F89B5AE-E188-4353-9738-00A6F4ADF3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0913" y="3451045"/>
            <a:ext cx="871267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ECA69700-84AA-4333-96E5-1B7E35ACBA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5089" y="362294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59530B2-E30E-446D-885E-7ADC021BD8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913" y="4549387"/>
            <a:ext cx="871267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44CB8CA3-C5FC-4CA5-979B-052A64B68E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086" y="4692576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9E5A7F7-8F19-4595-95BD-C0DABF6A81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1" y="2400464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2899181F-B8CA-4B36-AF7C-D1354DF84B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0175" y="255331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656F190-2BE8-4368-ADED-FC85D9A03C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1" y="3451045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355D8271-4249-49A3-9E31-CA7401B121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0175" y="3622945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97D1950-FBE7-4AAE-A7F3-DE7C26FAB2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1" y="4549387"/>
            <a:ext cx="871265" cy="661720"/>
          </a:xfrm>
        </p:spPr>
        <p:txBody>
          <a:bodyPr tIns="0" bIns="0" anchor="b">
            <a:normAutofit/>
          </a:bodyPr>
          <a:lstStyle>
            <a:lvl1pPr>
              <a:lnSpc>
                <a:spcPct val="70000"/>
              </a:lnSpc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543BA188-7B35-4438-90B1-F701495D62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0175" y="4692576"/>
            <a:ext cx="4446027" cy="756416"/>
          </a:xfrm>
        </p:spPr>
        <p:txBody>
          <a:bodyPr tIns="0" bIns="0">
            <a:normAutofit/>
          </a:bodyPr>
          <a:lstStyle>
            <a:lvl1pPr>
              <a:lnSpc>
                <a:spcPct val="100000"/>
              </a:lnSpc>
              <a:defRPr sz="1600" b="0" cap="none">
                <a:solidFill>
                  <a:schemeClr val="bg1"/>
                </a:solidFill>
                <a:latin typeface="+mn-lt"/>
              </a:defRPr>
            </a:lvl1pPr>
            <a:lvl3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Graphik Medium" panose="020B0603030202060203" pitchFamily="34" charset="0"/>
              </a:defRPr>
            </a:lvl5pPr>
          </a:lstStyle>
          <a:p>
            <a:pPr lvl="0"/>
            <a:r>
              <a:rPr lang="en-US" sz="1600"/>
              <a:t>Click to add Title at 16 </a:t>
            </a:r>
            <a:r>
              <a:rPr lang="en-US" sz="1600" err="1"/>
              <a:t>pt</a:t>
            </a:r>
            <a:r>
              <a:rPr lang="en-US" sz="1600"/>
              <a:t> or less</a:t>
            </a:r>
          </a:p>
        </p:txBody>
      </p:sp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7E25AE54-DB22-44B2-A18F-3ECCFA3A1C7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D9EB6A56-5461-4FFF-8573-F2A2015AD76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2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427">
            <a:extLst>
              <a:ext uri="{FF2B5EF4-FFF2-40B4-BE49-F238E27FC236}">
                <a16:creationId xmlns:a16="http://schemas.microsoft.com/office/drawing/2014/main" id="{A0389FE7-23FA-4F59-9431-2BD98252090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6342" y="1262745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819E8B2B-BC72-44A0-B890-8F9129C25E7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76908" y="1262744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6" name="Shape 427">
            <a:extLst>
              <a:ext uri="{FF2B5EF4-FFF2-40B4-BE49-F238E27FC236}">
                <a16:creationId xmlns:a16="http://schemas.microsoft.com/office/drawing/2014/main" id="{A53F6CAD-B866-476C-A3F3-999840B8569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9021" y="1262745"/>
            <a:ext cx="467321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Shape 922">
            <a:extLst>
              <a:ext uri="{FF2B5EF4-FFF2-40B4-BE49-F238E27FC236}">
                <a16:creationId xmlns:a16="http://schemas.microsoft.com/office/drawing/2014/main" id="{0E8B29BE-ED9C-4923-8A15-2D7EB6FDD4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1000" y="381000"/>
            <a:ext cx="11430000" cy="67520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55000"/>
              </a:lnSpc>
              <a:defRPr sz="3599" b="1" spc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genda</a:t>
            </a:r>
            <a:endParaRPr/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id="{0546DBA2-A7CE-4C2B-93E7-CC5664F02B2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36157" y="1262744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F23D09E5-F48E-46C4-BA48-55B8D916FF6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863753" y="1262744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33" name="Shape 427">
            <a:extLst>
              <a:ext uri="{FF2B5EF4-FFF2-40B4-BE49-F238E27FC236}">
                <a16:creationId xmlns:a16="http://schemas.microsoft.com/office/drawing/2014/main" id="{594D0953-7525-4E6D-B0D7-DB7BAB3AF3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46342" y="1771386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4" name="Текст 7">
            <a:extLst>
              <a:ext uri="{FF2B5EF4-FFF2-40B4-BE49-F238E27FC236}">
                <a16:creationId xmlns:a16="http://schemas.microsoft.com/office/drawing/2014/main" id="{DE211174-F013-47D8-9A4D-39E6BDD394E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076908" y="1771385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35" name="Shape 427">
            <a:extLst>
              <a:ext uri="{FF2B5EF4-FFF2-40B4-BE49-F238E27FC236}">
                <a16:creationId xmlns:a16="http://schemas.microsoft.com/office/drawing/2014/main" id="{B44DE5B6-E063-46C7-A47C-CE7C8EE76800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79021" y="1771386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9ED0463C-1E8F-4172-AE9E-3FC1FD5A75F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136157" y="1771385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37" name="Текст 7">
            <a:extLst>
              <a:ext uri="{FF2B5EF4-FFF2-40B4-BE49-F238E27FC236}">
                <a16:creationId xmlns:a16="http://schemas.microsoft.com/office/drawing/2014/main" id="{FCD13EB4-5D3A-4966-8955-0D5EC74C421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863753" y="1771385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38" name="Shape 427">
            <a:extLst>
              <a:ext uri="{FF2B5EF4-FFF2-40B4-BE49-F238E27FC236}">
                <a16:creationId xmlns:a16="http://schemas.microsoft.com/office/drawing/2014/main" id="{7FDFA773-00C8-413C-B961-BDF046F8915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46342" y="2280029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id="{8CD96B58-FF88-4799-83C0-7B3F7A791433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76908" y="2280028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0" name="Shape 427">
            <a:extLst>
              <a:ext uri="{FF2B5EF4-FFF2-40B4-BE49-F238E27FC236}">
                <a16:creationId xmlns:a16="http://schemas.microsoft.com/office/drawing/2014/main" id="{D21DD8F8-D778-4FF8-8237-35AA5C64B03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9021" y="2280029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1" name="Текст 7">
            <a:extLst>
              <a:ext uri="{FF2B5EF4-FFF2-40B4-BE49-F238E27FC236}">
                <a16:creationId xmlns:a16="http://schemas.microsoft.com/office/drawing/2014/main" id="{37DD4E89-904E-42D3-9DB7-A88EC9B0117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136157" y="2280028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42" name="Текст 7">
            <a:extLst>
              <a:ext uri="{FF2B5EF4-FFF2-40B4-BE49-F238E27FC236}">
                <a16:creationId xmlns:a16="http://schemas.microsoft.com/office/drawing/2014/main" id="{F79439D3-A2C0-4AFA-B6CB-27F6C0C3065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863753" y="2280028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43" name="Shape 427">
            <a:extLst>
              <a:ext uri="{FF2B5EF4-FFF2-40B4-BE49-F238E27FC236}">
                <a16:creationId xmlns:a16="http://schemas.microsoft.com/office/drawing/2014/main" id="{E410E884-D585-4181-9553-20489DE4D1A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46342" y="2788670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29E7CE7A-6CDD-4428-AAD7-69DAA98C5DF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076908" y="2788670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45" name="Shape 427">
            <a:extLst>
              <a:ext uri="{FF2B5EF4-FFF2-40B4-BE49-F238E27FC236}">
                <a16:creationId xmlns:a16="http://schemas.microsoft.com/office/drawing/2014/main" id="{DC194DD0-C796-4B11-AEDE-F3B0F472ADF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79021" y="2788670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A9495FFF-0B9F-48D1-9AC8-0E2C4825814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136157" y="2788670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47" name="Текст 7">
            <a:extLst>
              <a:ext uri="{FF2B5EF4-FFF2-40B4-BE49-F238E27FC236}">
                <a16:creationId xmlns:a16="http://schemas.microsoft.com/office/drawing/2014/main" id="{A0855D12-2B6D-4A6F-948D-F1D9F934372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863753" y="2788670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48" name="Shape 427">
            <a:extLst>
              <a:ext uri="{FF2B5EF4-FFF2-40B4-BE49-F238E27FC236}">
                <a16:creationId xmlns:a16="http://schemas.microsoft.com/office/drawing/2014/main" id="{A0DF3107-F8E0-43C2-A80A-6C8BA0DDD7E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46342" y="3297313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9" name="Текст 7">
            <a:extLst>
              <a:ext uri="{FF2B5EF4-FFF2-40B4-BE49-F238E27FC236}">
                <a16:creationId xmlns:a16="http://schemas.microsoft.com/office/drawing/2014/main" id="{AB9DF6C0-B464-4AE2-8662-1685867E6C4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076908" y="3297312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50" name="Shape 427">
            <a:extLst>
              <a:ext uri="{FF2B5EF4-FFF2-40B4-BE49-F238E27FC236}">
                <a16:creationId xmlns:a16="http://schemas.microsoft.com/office/drawing/2014/main" id="{6DF5F441-D49F-4EB0-84B8-FED23E276171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79021" y="3297313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1" name="Текст 7">
            <a:extLst>
              <a:ext uri="{FF2B5EF4-FFF2-40B4-BE49-F238E27FC236}">
                <a16:creationId xmlns:a16="http://schemas.microsoft.com/office/drawing/2014/main" id="{A1560C63-8F9F-4CDD-8AB4-B7DD22095E4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36157" y="3297312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52" name="Текст 7">
            <a:extLst>
              <a:ext uri="{FF2B5EF4-FFF2-40B4-BE49-F238E27FC236}">
                <a16:creationId xmlns:a16="http://schemas.microsoft.com/office/drawing/2014/main" id="{E1DF8665-9F3B-44CE-9857-1186264D323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863753" y="3297312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53" name="Shape 427">
            <a:extLst>
              <a:ext uri="{FF2B5EF4-FFF2-40B4-BE49-F238E27FC236}">
                <a16:creationId xmlns:a16="http://schemas.microsoft.com/office/drawing/2014/main" id="{BCCDACBB-4A63-49F3-AD86-E298211238C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46342" y="3805954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3841C805-E3C7-494A-B384-5D9AF3A48084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5076908" y="3805953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55" name="Shape 427">
            <a:extLst>
              <a:ext uri="{FF2B5EF4-FFF2-40B4-BE49-F238E27FC236}">
                <a16:creationId xmlns:a16="http://schemas.microsoft.com/office/drawing/2014/main" id="{2A769030-89D5-452C-BA83-7CA07FC5D0EB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79021" y="3805954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6" name="Текст 7">
            <a:extLst>
              <a:ext uri="{FF2B5EF4-FFF2-40B4-BE49-F238E27FC236}">
                <a16:creationId xmlns:a16="http://schemas.microsoft.com/office/drawing/2014/main" id="{49D89E9F-0652-42DA-A6A1-9DA42EA57822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136157" y="3805953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83869A0A-4D67-4EB4-BDB9-A36A7AE0F910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863753" y="3805953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58" name="Shape 427">
            <a:extLst>
              <a:ext uri="{FF2B5EF4-FFF2-40B4-BE49-F238E27FC236}">
                <a16:creationId xmlns:a16="http://schemas.microsoft.com/office/drawing/2014/main" id="{2F1778D8-DE4D-482B-B945-F49BC16CF6E4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46342" y="4314597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9" name="Текст 7">
            <a:extLst>
              <a:ext uri="{FF2B5EF4-FFF2-40B4-BE49-F238E27FC236}">
                <a16:creationId xmlns:a16="http://schemas.microsoft.com/office/drawing/2014/main" id="{70FA8B9B-F395-4814-8A90-7EAB73DAE890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076908" y="4314596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60" name="Shape 427">
            <a:extLst>
              <a:ext uri="{FF2B5EF4-FFF2-40B4-BE49-F238E27FC236}">
                <a16:creationId xmlns:a16="http://schemas.microsoft.com/office/drawing/2014/main" id="{23781898-2744-47D4-89FA-06414C3BB8B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79021" y="4314597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Текст 7">
            <a:extLst>
              <a:ext uri="{FF2B5EF4-FFF2-40B4-BE49-F238E27FC236}">
                <a16:creationId xmlns:a16="http://schemas.microsoft.com/office/drawing/2014/main" id="{DC165653-FACF-43E9-926D-7F5869FF1272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136157" y="4314596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62" name="Текст 7">
            <a:extLst>
              <a:ext uri="{FF2B5EF4-FFF2-40B4-BE49-F238E27FC236}">
                <a16:creationId xmlns:a16="http://schemas.microsoft.com/office/drawing/2014/main" id="{7473B5F1-4BEF-47E6-997B-C9C78DA30B89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8863753" y="4314596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63" name="Shape 427">
            <a:extLst>
              <a:ext uri="{FF2B5EF4-FFF2-40B4-BE49-F238E27FC236}">
                <a16:creationId xmlns:a16="http://schemas.microsoft.com/office/drawing/2014/main" id="{C756CD6A-E824-46AB-86F4-C4D18687D3F0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46342" y="4823238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4" name="Текст 7">
            <a:extLst>
              <a:ext uri="{FF2B5EF4-FFF2-40B4-BE49-F238E27FC236}">
                <a16:creationId xmlns:a16="http://schemas.microsoft.com/office/drawing/2014/main" id="{604D5BC8-1E74-48FB-87B6-CBD3F8DA8516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076908" y="4823238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65" name="Shape 427">
            <a:extLst>
              <a:ext uri="{FF2B5EF4-FFF2-40B4-BE49-F238E27FC236}">
                <a16:creationId xmlns:a16="http://schemas.microsoft.com/office/drawing/2014/main" id="{A48A1A58-7781-43EC-8DD7-C1FFF41BC079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79021" y="4823238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6" name="Текст 7">
            <a:extLst>
              <a:ext uri="{FF2B5EF4-FFF2-40B4-BE49-F238E27FC236}">
                <a16:creationId xmlns:a16="http://schemas.microsoft.com/office/drawing/2014/main" id="{F384482A-6D34-4660-B782-E9E0B3D1D7C3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36157" y="4823238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67" name="Текст 7">
            <a:extLst>
              <a:ext uri="{FF2B5EF4-FFF2-40B4-BE49-F238E27FC236}">
                <a16:creationId xmlns:a16="http://schemas.microsoft.com/office/drawing/2014/main" id="{AC8143A6-698F-4233-9663-3FB4CEA52CC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863753" y="4823238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68" name="Shape 427">
            <a:extLst>
              <a:ext uri="{FF2B5EF4-FFF2-40B4-BE49-F238E27FC236}">
                <a16:creationId xmlns:a16="http://schemas.microsoft.com/office/drawing/2014/main" id="{FF9EA3A9-E8AC-40F9-9A6B-736AA171C605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46342" y="5331881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9" name="Текст 7">
            <a:extLst>
              <a:ext uri="{FF2B5EF4-FFF2-40B4-BE49-F238E27FC236}">
                <a16:creationId xmlns:a16="http://schemas.microsoft.com/office/drawing/2014/main" id="{2C0ABC18-3C9C-4A79-B14D-4197933FB23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076908" y="5331880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70" name="Shape 427">
            <a:extLst>
              <a:ext uri="{FF2B5EF4-FFF2-40B4-BE49-F238E27FC236}">
                <a16:creationId xmlns:a16="http://schemas.microsoft.com/office/drawing/2014/main" id="{DFB11B43-69B7-4144-B92D-B6F0908C4F5A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79021" y="5331881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1" name="Текст 7">
            <a:extLst>
              <a:ext uri="{FF2B5EF4-FFF2-40B4-BE49-F238E27FC236}">
                <a16:creationId xmlns:a16="http://schemas.microsoft.com/office/drawing/2014/main" id="{F271EB16-B892-4F3A-B72B-0C8463A000F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36157" y="5331880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72" name="Текст 7">
            <a:extLst>
              <a:ext uri="{FF2B5EF4-FFF2-40B4-BE49-F238E27FC236}">
                <a16:creationId xmlns:a16="http://schemas.microsoft.com/office/drawing/2014/main" id="{FC0DE52D-9D22-4C8D-9761-0B0BA700533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863753" y="5331880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73" name="Shape 427">
            <a:extLst>
              <a:ext uri="{FF2B5EF4-FFF2-40B4-BE49-F238E27FC236}">
                <a16:creationId xmlns:a16="http://schemas.microsoft.com/office/drawing/2014/main" id="{728F2880-7F01-488F-9B04-77A5A019CF4F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46342" y="5840525"/>
            <a:ext cx="4230565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74" name="Текст 7">
            <a:extLst>
              <a:ext uri="{FF2B5EF4-FFF2-40B4-BE49-F238E27FC236}">
                <a16:creationId xmlns:a16="http://schemas.microsoft.com/office/drawing/2014/main" id="{17ECD433-44A6-4AF1-A959-0FB2622F649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5076908" y="5840524"/>
            <a:ext cx="1019093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aseline="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75" name="Shape 427">
            <a:extLst>
              <a:ext uri="{FF2B5EF4-FFF2-40B4-BE49-F238E27FC236}">
                <a16:creationId xmlns:a16="http://schemas.microsoft.com/office/drawing/2014/main" id="{FBED1C5A-0331-4B44-BDFF-54D59393DB65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79021" y="5840525"/>
            <a:ext cx="467320" cy="375351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6" name="Текст 7">
            <a:extLst>
              <a:ext uri="{FF2B5EF4-FFF2-40B4-BE49-F238E27FC236}">
                <a16:creationId xmlns:a16="http://schemas.microsoft.com/office/drawing/2014/main" id="{5D19449E-B49B-4551-9DB6-5D6038A52CFE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136157" y="5840524"/>
            <a:ext cx="2687441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77" name="Текст 7">
            <a:extLst>
              <a:ext uri="{FF2B5EF4-FFF2-40B4-BE49-F238E27FC236}">
                <a16:creationId xmlns:a16="http://schemas.microsoft.com/office/drawing/2014/main" id="{AE8EB973-7307-4D53-8886-100B4D542E61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8863753" y="5840524"/>
            <a:ext cx="2947249" cy="376453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Additional information</a:t>
            </a:r>
          </a:p>
        </p:txBody>
      </p:sp>
      <p:sp>
        <p:nvSpPr>
          <p:cNvPr id="78" name="Footer Placeholder 6">
            <a:extLst>
              <a:ext uri="{FF2B5EF4-FFF2-40B4-BE49-F238E27FC236}">
                <a16:creationId xmlns:a16="http://schemas.microsoft.com/office/drawing/2014/main" id="{AC4978DF-FF3B-4BD0-AF26-B722FC917EF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79" name="Slide Number Placeholder 9">
            <a:extLst>
              <a:ext uri="{FF2B5EF4-FFF2-40B4-BE49-F238E27FC236}">
                <a16:creationId xmlns:a16="http://schemas.microsoft.com/office/drawing/2014/main" id="{15A65F69-2C73-4253-B568-FD60019145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5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p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6"/>
            <a:ext cx="3430215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7" y="551413"/>
            <a:ext cx="3443260" cy="518867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100" y="541708"/>
            <a:ext cx="3428941" cy="528483"/>
          </a:xfrm>
          <a:prstGeom prst="rect">
            <a:avLst/>
          </a:prstGeom>
        </p:spPr>
      </p:pic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25C35BE5-9691-4032-85CD-3FBCEF5AFA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60173" y="6517502"/>
            <a:ext cx="5717232" cy="20632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r>
              <a:rPr lang="en-GB"/>
              <a:t>Copyright © 2020 Accenture. All rights reserved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44BAC1B-F40D-435D-8FB1-60D31FE52E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9721" y="6517502"/>
            <a:ext cx="385863" cy="20632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hape 922">
            <a:extLst>
              <a:ext uri="{FF2B5EF4-FFF2-40B4-BE49-F238E27FC236}">
                <a16:creationId xmlns:a16="http://schemas.microsoft.com/office/drawing/2014/main" id="{A59AF6F5-1FE6-41F7-B876-C8FA9CF051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20706" y="1342751"/>
            <a:ext cx="10690295" cy="84677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55000"/>
              </a:lnSpc>
              <a:defRPr sz="3599" b="1" spc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genda</a:t>
            </a:r>
            <a:endParaRPr/>
          </a:p>
        </p:txBody>
      </p:sp>
      <p:sp>
        <p:nvSpPr>
          <p:cNvPr id="8" name="Shape 427">
            <a:extLst>
              <a:ext uri="{FF2B5EF4-FFF2-40B4-BE49-F238E27FC236}">
                <a16:creationId xmlns:a16="http://schemas.microsoft.com/office/drawing/2014/main" id="{64253665-E26D-4C1F-8A05-0B67EC138A9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876171" y="2533834"/>
            <a:ext cx="4230565" cy="375351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Shape 427">
            <a:extLst>
              <a:ext uri="{FF2B5EF4-FFF2-40B4-BE49-F238E27FC236}">
                <a16:creationId xmlns:a16="http://schemas.microsoft.com/office/drawing/2014/main" id="{B412A677-43B2-4138-89C4-96CD5F49C11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888346" y="2533834"/>
            <a:ext cx="692695" cy="375351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5" name="Shape 427">
            <a:extLst>
              <a:ext uri="{FF2B5EF4-FFF2-40B4-BE49-F238E27FC236}">
                <a16:creationId xmlns:a16="http://schemas.microsoft.com/office/drawing/2014/main" id="{403E4040-0168-473D-9730-7BBDF1FC313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876171" y="3206346"/>
            <a:ext cx="4230565" cy="375351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6" name="Shape 427">
            <a:extLst>
              <a:ext uri="{FF2B5EF4-FFF2-40B4-BE49-F238E27FC236}">
                <a16:creationId xmlns:a16="http://schemas.microsoft.com/office/drawing/2014/main" id="{B38D7EF9-FB82-476C-A9E6-5FF9A70D6D9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888346" y="3206346"/>
            <a:ext cx="692693" cy="375351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7" name="Shape 427">
            <a:extLst>
              <a:ext uri="{FF2B5EF4-FFF2-40B4-BE49-F238E27FC236}">
                <a16:creationId xmlns:a16="http://schemas.microsoft.com/office/drawing/2014/main" id="{6366E733-C206-4A89-9FB5-31F8E56968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876171" y="3878859"/>
            <a:ext cx="4230565" cy="375351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8" name="Shape 427">
            <a:extLst>
              <a:ext uri="{FF2B5EF4-FFF2-40B4-BE49-F238E27FC236}">
                <a16:creationId xmlns:a16="http://schemas.microsoft.com/office/drawing/2014/main" id="{002674C7-A553-49B2-81E2-42ACAA9406D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888346" y="3878859"/>
            <a:ext cx="692692" cy="375351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9" name="Shape 427">
            <a:extLst>
              <a:ext uri="{FF2B5EF4-FFF2-40B4-BE49-F238E27FC236}">
                <a16:creationId xmlns:a16="http://schemas.microsoft.com/office/drawing/2014/main" id="{905B95E7-18D0-44DF-9B9F-058122C3703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2876171" y="4551374"/>
            <a:ext cx="4230565" cy="375351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0" name="Shape 427">
            <a:extLst>
              <a:ext uri="{FF2B5EF4-FFF2-40B4-BE49-F238E27FC236}">
                <a16:creationId xmlns:a16="http://schemas.microsoft.com/office/drawing/2014/main" id="{5E434759-0B7F-4320-937B-A97C550C978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888345" y="4551374"/>
            <a:ext cx="692691" cy="375351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algn="l">
              <a:lnSpc>
                <a:spcPct val="100000"/>
              </a:lnSpc>
              <a:defRPr sz="3600" b="1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02753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  <p15:guide id="2" pos="709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1" y="1943102"/>
            <a:ext cx="85725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80970" indent="-18097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2D7B9C33-7860-4A78-8365-326155D0DC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75CA6DF9-3D47-44A0-9AE6-EE81F57784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8D1DF11-64D7-450B-92C0-FFBB3964A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3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926903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1986EA-B600-4DE9-873A-47A5273447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943102"/>
            <a:ext cx="54000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77796" indent="-177796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38F56B-ECAD-430D-86B3-CA43CA930B13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6411000" y="1945850"/>
            <a:ext cx="5400000" cy="428427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800" b="1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177796" indent="-177796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4pPr>
            <a:lvl5pPr>
              <a:defRPr kumimoji="0" lang="en-GB" sz="1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03EC794A-FC92-4AAF-AE86-050FA799F5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31586DA7-028B-46B2-8DE5-CD490E3A72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CAD60B4-85E8-4266-A468-73C7C71B2C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3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963619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1BE77C-A095-46CD-A1E6-D35129200CF4}"/>
              </a:ext>
            </a:extLst>
          </p:cNvPr>
          <p:cNvSpPr/>
          <p:nvPr userDrawn="1"/>
        </p:nvSpPr>
        <p:spPr>
          <a:xfrm>
            <a:off x="2" y="1928173"/>
            <a:ext cx="12191999" cy="4405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Text Placeholder 41">
            <a:extLst>
              <a:ext uri="{FF2B5EF4-FFF2-40B4-BE49-F238E27FC236}">
                <a16:creationId xmlns:a16="http://schemas.microsoft.com/office/drawing/2014/main" id="{812566C2-550C-428D-9F25-97BA6ACC6D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80215" y="2410217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  <a:endParaRPr lang="en-US"/>
          </a:p>
        </p:txBody>
      </p:sp>
      <p:sp>
        <p:nvSpPr>
          <p:cNvPr id="22" name="Text Placeholder 41">
            <a:extLst>
              <a:ext uri="{FF2B5EF4-FFF2-40B4-BE49-F238E27FC236}">
                <a16:creationId xmlns:a16="http://schemas.microsoft.com/office/drawing/2014/main" id="{50056D35-DC61-4D0F-B0C2-B062F0DD56A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501" y="2410217"/>
            <a:ext cx="839889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4F54E055-BFC8-4967-AD47-F082AF139F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0215" y="3635687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4" name="Text Placeholder 41">
            <a:extLst>
              <a:ext uri="{FF2B5EF4-FFF2-40B4-BE49-F238E27FC236}">
                <a16:creationId xmlns:a16="http://schemas.microsoft.com/office/drawing/2014/main" id="{17A9C8F1-2B45-4232-AB93-26450C4625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501" y="3635687"/>
            <a:ext cx="839888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D7F2FA40-8443-415A-BCEC-57907AD7C3D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80215" y="4861158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26" name="Text Placeholder 41">
            <a:extLst>
              <a:ext uri="{FF2B5EF4-FFF2-40B4-BE49-F238E27FC236}">
                <a16:creationId xmlns:a16="http://schemas.microsoft.com/office/drawing/2014/main" id="{4DFB22B2-7DED-4F30-9EEB-FB3AE9BC74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4501" y="4861158"/>
            <a:ext cx="839888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80618C3C-6BED-4F24-8BC3-0BA6574D0A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31715" y="2410217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18039CC1-2EA8-4C41-979B-4D20FB6809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6001" y="2410217"/>
            <a:ext cx="839889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5A1FF5E6-3D7C-4087-AFF1-48A99E04CE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31715" y="3635687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6" name="Text Placeholder 41">
            <a:extLst>
              <a:ext uri="{FF2B5EF4-FFF2-40B4-BE49-F238E27FC236}">
                <a16:creationId xmlns:a16="http://schemas.microsoft.com/office/drawing/2014/main" id="{BB2C9A29-68E9-4B62-8688-F3255D0DC6F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01" y="3635687"/>
            <a:ext cx="839888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353E4163-5423-4488-93B4-72E261A04E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31715" y="4861158"/>
            <a:ext cx="4243163" cy="879767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400" b="0" kern="1200" cap="none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da-DK"/>
              <a:t>Lorem ipsum dolor sit amet</a:t>
            </a:r>
          </a:p>
        </p:txBody>
      </p:sp>
      <p:sp>
        <p:nvSpPr>
          <p:cNvPr id="38" name="Text Placeholder 41">
            <a:extLst>
              <a:ext uri="{FF2B5EF4-FFF2-40B4-BE49-F238E27FC236}">
                <a16:creationId xmlns:a16="http://schemas.microsoft.com/office/drawing/2014/main" id="{EC5DB573-F8E8-4DEA-AEA6-9E4D218638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1" y="4861158"/>
            <a:ext cx="839888" cy="553999"/>
          </a:xfrm>
          <a:prstGeom prst="rect">
            <a:avLst/>
          </a:prstGeom>
        </p:spPr>
        <p:txBody>
          <a:bodyPr wrap="square" tIns="0" bIns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3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1409C984-F547-42F7-B88C-526E030405E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28" name="Slide Number Placeholder 9">
            <a:extLst>
              <a:ext uri="{FF2B5EF4-FFF2-40B4-BE49-F238E27FC236}">
                <a16:creationId xmlns:a16="http://schemas.microsoft.com/office/drawing/2014/main" id="{829B10C9-5B15-4D0E-BE03-A02D6DD428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A822CE51-5843-4191-8C13-33C5608805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3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14482788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1BE77C-A095-46CD-A1E6-D35129200CF4}"/>
              </a:ext>
            </a:extLst>
          </p:cNvPr>
          <p:cNvSpPr/>
          <p:nvPr userDrawn="1"/>
        </p:nvSpPr>
        <p:spPr>
          <a:xfrm>
            <a:off x="2" y="1754997"/>
            <a:ext cx="12191999" cy="45784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1409C984-F547-42F7-B88C-526E030405E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28" name="Slide Number Placeholder 9">
            <a:extLst>
              <a:ext uri="{FF2B5EF4-FFF2-40B4-BE49-F238E27FC236}">
                <a16:creationId xmlns:a16="http://schemas.microsoft.com/office/drawing/2014/main" id="{829B10C9-5B15-4D0E-BE03-A02D6DD428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FFD4091F-4540-47D0-9D89-6BCB0291E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3"/>
            <a:ext cx="11430000" cy="98326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32" name="Text Placeholder 41">
            <a:extLst>
              <a:ext uri="{FF2B5EF4-FFF2-40B4-BE49-F238E27FC236}">
                <a16:creationId xmlns:a16="http://schemas.microsoft.com/office/drawing/2014/main" id="{53346DC2-FD7B-49C4-8AAB-B359175B7B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2104387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3" name="Text Placeholder 41">
            <a:extLst>
              <a:ext uri="{FF2B5EF4-FFF2-40B4-BE49-F238E27FC236}">
                <a16:creationId xmlns:a16="http://schemas.microsoft.com/office/drawing/2014/main" id="{AC42A312-9979-4A01-9158-57CD4C8CA33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1000" y="3532780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E6AD4056-7137-4DCF-A115-E508E36FD57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0999" y="4965815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5" name="Text Placeholder 41">
            <a:extLst>
              <a:ext uri="{FF2B5EF4-FFF2-40B4-BE49-F238E27FC236}">
                <a16:creationId xmlns:a16="http://schemas.microsoft.com/office/drawing/2014/main" id="{C209F1A0-3F27-4F19-87B3-B17D5D0FF7A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03436" y="2104387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6" name="Text Placeholder 41">
            <a:extLst>
              <a:ext uri="{FF2B5EF4-FFF2-40B4-BE49-F238E27FC236}">
                <a16:creationId xmlns:a16="http://schemas.microsoft.com/office/drawing/2014/main" id="{8FD5C041-A388-41EA-ABD7-248D2E8C55D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03435" y="3532780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C81EE5FD-7567-45E7-B11B-1CDE922D19C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03435" y="4965815"/>
            <a:ext cx="5400000" cy="1162464"/>
          </a:xfrm>
          <a:prstGeom prst="rect">
            <a:avLst/>
          </a:prstGeom>
        </p:spPr>
        <p:txBody>
          <a:bodyPr wrap="square" tIns="0" bIns="0"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add subtitle</a:t>
            </a:r>
          </a:p>
          <a:p>
            <a:pPr marL="0" marR="0" lvl="1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Lorem ipsum dolor sit amet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521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op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1A5701AF-8C9A-416C-8C16-F26F74D4E0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9AF2F80B-FAAB-453C-9BFA-2B88708F5B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7F4055-09B8-4900-9A74-F431CCBCD2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B41F9DC-5DAA-4AC3-B4B1-23B84BB4FAC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9273" y="2420472"/>
            <a:ext cx="3037643" cy="3743232"/>
          </a:xfrm>
        </p:spPr>
        <p:txBody>
          <a:bodyPr anchor="t" anchorCtr="0"/>
          <a:lstStyle>
            <a:lvl1pPr>
              <a:lnSpc>
                <a:spcPct val="80000"/>
              </a:lnSpc>
              <a:spcBef>
                <a:spcPts val="0"/>
              </a:spcBef>
              <a:defRPr b="1" i="0" baseline="0">
                <a:solidFill>
                  <a:schemeClr val="tx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r>
              <a:rPr lang="da-DK"/>
              <a:t>Lorem ipsum dolor sit ame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BBC5943-7E6D-405B-8801-1FDAAD3B360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42391" y="1932768"/>
            <a:ext cx="3037643" cy="4230937"/>
          </a:xfrm>
        </p:spPr>
        <p:txBody>
          <a:bodyPr anchor="t"/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non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dolor </a:t>
            </a:r>
            <a:r>
              <a:rPr lang="en-US" err="1"/>
              <a:t>auctor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lacinia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sed </a:t>
            </a:r>
            <a:r>
              <a:rPr lang="en-US" err="1"/>
              <a:t>consectetur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161B609-BE49-4CA3-99A6-2B12D08A3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95509" y="1932768"/>
            <a:ext cx="3037643" cy="4230937"/>
          </a:xfrm>
        </p:spPr>
        <p:txBody>
          <a:bodyPr anchor="t"/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non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dolor </a:t>
            </a:r>
            <a:r>
              <a:rPr lang="en-US" err="1"/>
              <a:t>auctor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lacinia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940242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 op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E061C87-E253-4832-BFB5-F70B539C64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12562" y="2318658"/>
            <a:ext cx="1529951" cy="1529951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F996EC7F-3B94-44CB-95AE-46012470B4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942" y="3965948"/>
            <a:ext cx="2176033" cy="1903709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buNone/>
              <a:defRPr sz="11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A86D32D-DCCA-FB41-AD6B-6114273CE67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89857" y="2318658"/>
            <a:ext cx="1529951" cy="1529951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B3FA79AB-3280-3942-8811-1F447CF932F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567150" y="2318658"/>
            <a:ext cx="1529951" cy="1529951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F226A25B-26CF-1C41-961E-12B3F363E00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644443" y="2318658"/>
            <a:ext cx="1529951" cy="1529951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3DA2324F-429F-416C-B0E2-0705EF3F3C2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442089" y="3965948"/>
            <a:ext cx="2176033" cy="1903709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buNone/>
              <a:defRPr sz="11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799C281E-986E-4625-8C38-95FE03130DD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25237" y="3965948"/>
            <a:ext cx="2176033" cy="1903709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buNone/>
              <a:defRPr sz="11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8" name="Text Placeholder 41">
            <a:extLst>
              <a:ext uri="{FF2B5EF4-FFF2-40B4-BE49-F238E27FC236}">
                <a16:creationId xmlns:a16="http://schemas.microsoft.com/office/drawing/2014/main" id="{61D8C868-0AFD-4AAE-9BAF-B38463119B1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608385" y="3965948"/>
            <a:ext cx="2176033" cy="1903709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buNone/>
              <a:defRPr sz="11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56513314-C335-4CC2-A0AD-D189C5C3DA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AA78F8B1-6E6E-4360-BB5E-FF0F95B9A6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D620DED-869C-4E4E-A4DA-3AAFA7F69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8920ED-AABA-4419-9EE0-CCD983EBCFC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1001" y="1498238"/>
            <a:ext cx="6186151" cy="614175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6868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 op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8D747D9D-502C-4961-962D-8C22E948A91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79479" y="1351180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1100" b="0" i="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E67CA658-B2F1-49CE-8A02-915F9688766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440552" y="1351180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9" name="Рисунок 4">
            <a:extLst>
              <a:ext uri="{FF2B5EF4-FFF2-40B4-BE49-F238E27FC236}">
                <a16:creationId xmlns:a16="http://schemas.microsoft.com/office/drawing/2014/main" id="{04953115-F2FF-402D-9F85-6D258B38790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479479" y="3146113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10" name="Рисунок 4">
            <a:extLst>
              <a:ext uri="{FF2B5EF4-FFF2-40B4-BE49-F238E27FC236}">
                <a16:creationId xmlns:a16="http://schemas.microsoft.com/office/drawing/2014/main" id="{95FBC450-5E0D-45D9-B812-B4466F0322F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8440552" y="3146113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cxnSp>
        <p:nvCxnSpPr>
          <p:cNvPr id="8" name="Прямая соединительная линия 67">
            <a:extLst>
              <a:ext uri="{FF2B5EF4-FFF2-40B4-BE49-F238E27FC236}">
                <a16:creationId xmlns:a16="http://schemas.microsoft.com/office/drawing/2014/main" id="{58631369-0E22-4102-BD17-E9D68D58926B}"/>
              </a:ext>
            </a:extLst>
          </p:cNvPr>
          <p:cNvCxnSpPr/>
          <p:nvPr userDrawn="1"/>
        </p:nvCxnSpPr>
        <p:spPr>
          <a:xfrm flipH="1">
            <a:off x="425171" y="2967635"/>
            <a:ext cx="9396304" cy="0"/>
          </a:xfrm>
          <a:prstGeom prst="line">
            <a:avLst/>
          </a:prstGeom>
          <a:ln w="3175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24">
            <a:extLst>
              <a:ext uri="{FF2B5EF4-FFF2-40B4-BE49-F238E27FC236}">
                <a16:creationId xmlns:a16="http://schemas.microsoft.com/office/drawing/2014/main" id="{7C1A588F-F227-47DE-BB40-5E65CD7315C9}"/>
              </a:ext>
            </a:extLst>
          </p:cNvPr>
          <p:cNvCxnSpPr/>
          <p:nvPr userDrawn="1"/>
        </p:nvCxnSpPr>
        <p:spPr>
          <a:xfrm flipH="1">
            <a:off x="425171" y="4760123"/>
            <a:ext cx="9396304" cy="0"/>
          </a:xfrm>
          <a:prstGeom prst="line">
            <a:avLst/>
          </a:prstGeom>
          <a:ln w="3175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Рисунок 4">
            <a:extLst>
              <a:ext uri="{FF2B5EF4-FFF2-40B4-BE49-F238E27FC236}">
                <a16:creationId xmlns:a16="http://schemas.microsoft.com/office/drawing/2014/main" id="{77BB5C53-72EE-41D4-A746-FE9E639A76CF}"/>
              </a:ext>
            </a:extLst>
          </p:cNvPr>
          <p:cNvSpPr>
            <a:spLocks noGrp="1"/>
          </p:cNvSpPr>
          <p:nvPr userDrawn="1">
            <p:ph type="pic" sz="quarter" idx="43" hasCustomPrompt="1"/>
          </p:nvPr>
        </p:nvSpPr>
        <p:spPr>
          <a:xfrm>
            <a:off x="6479479" y="4941047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77C3390F-5916-48B6-B411-70EE15132E71}"/>
              </a:ext>
            </a:extLst>
          </p:cNvPr>
          <p:cNvSpPr>
            <a:spLocks noGrp="1"/>
          </p:cNvSpPr>
          <p:nvPr userDrawn="1">
            <p:ph type="pic" sz="quarter" idx="44" hasCustomPrompt="1"/>
          </p:nvPr>
        </p:nvSpPr>
        <p:spPr>
          <a:xfrm>
            <a:off x="8440552" y="4941047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17" name="Рисунок 4">
            <a:extLst>
              <a:ext uri="{FF2B5EF4-FFF2-40B4-BE49-F238E27FC236}">
                <a16:creationId xmlns:a16="http://schemas.microsoft.com/office/drawing/2014/main" id="{10C1DF2F-D6AE-4549-9938-758CDE6901EF}"/>
              </a:ext>
            </a:extLst>
          </p:cNvPr>
          <p:cNvSpPr>
            <a:spLocks noGrp="1"/>
          </p:cNvSpPr>
          <p:nvPr userDrawn="1">
            <p:ph type="pic" sz="quarter" idx="45" hasCustomPrompt="1"/>
          </p:nvPr>
        </p:nvSpPr>
        <p:spPr>
          <a:xfrm>
            <a:off x="4518405" y="1351180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1100" b="0" i="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3C2D721C-6D17-4B07-A585-9CCEC2719AC9}"/>
              </a:ext>
            </a:extLst>
          </p:cNvPr>
          <p:cNvSpPr>
            <a:spLocks noGrp="1"/>
          </p:cNvSpPr>
          <p:nvPr userDrawn="1">
            <p:ph type="pic" sz="quarter" idx="46" hasCustomPrompt="1"/>
          </p:nvPr>
        </p:nvSpPr>
        <p:spPr>
          <a:xfrm>
            <a:off x="4518405" y="3146113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765EF9F1-14DC-4275-82F4-77CEB05078F5}"/>
              </a:ext>
            </a:extLst>
          </p:cNvPr>
          <p:cNvSpPr>
            <a:spLocks noGrp="1"/>
          </p:cNvSpPr>
          <p:nvPr userDrawn="1">
            <p:ph type="pic" sz="quarter" idx="47" hasCustomPrompt="1"/>
          </p:nvPr>
        </p:nvSpPr>
        <p:spPr>
          <a:xfrm>
            <a:off x="4518405" y="4941047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AA6E5D5D-8261-49F9-BE1B-4078CE16014F}"/>
              </a:ext>
            </a:extLst>
          </p:cNvPr>
          <p:cNvSpPr>
            <a:spLocks noGrp="1"/>
          </p:cNvSpPr>
          <p:nvPr userDrawn="1">
            <p:ph type="pic" sz="quarter" idx="48" hasCustomPrompt="1"/>
          </p:nvPr>
        </p:nvSpPr>
        <p:spPr>
          <a:xfrm>
            <a:off x="596257" y="1351180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3" name="Рисунок 4">
            <a:extLst>
              <a:ext uri="{FF2B5EF4-FFF2-40B4-BE49-F238E27FC236}">
                <a16:creationId xmlns:a16="http://schemas.microsoft.com/office/drawing/2014/main" id="{8984E8BC-D700-4C66-8647-E88F7CBF87A1}"/>
              </a:ext>
            </a:extLst>
          </p:cNvPr>
          <p:cNvSpPr>
            <a:spLocks noGrp="1"/>
          </p:cNvSpPr>
          <p:nvPr userDrawn="1">
            <p:ph type="pic" sz="quarter" idx="49" hasCustomPrompt="1"/>
          </p:nvPr>
        </p:nvSpPr>
        <p:spPr>
          <a:xfrm>
            <a:off x="2557331" y="1351180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1100" b="0" i="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5" name="Рисунок 4">
            <a:extLst>
              <a:ext uri="{FF2B5EF4-FFF2-40B4-BE49-F238E27FC236}">
                <a16:creationId xmlns:a16="http://schemas.microsoft.com/office/drawing/2014/main" id="{A74D8768-8E15-47F1-BCD3-F9A3CE7E0CD3}"/>
              </a:ext>
            </a:extLst>
          </p:cNvPr>
          <p:cNvSpPr>
            <a:spLocks noGrp="1"/>
          </p:cNvSpPr>
          <p:nvPr userDrawn="1">
            <p:ph type="pic" sz="quarter" idx="50" hasCustomPrompt="1"/>
          </p:nvPr>
        </p:nvSpPr>
        <p:spPr>
          <a:xfrm>
            <a:off x="596257" y="3146113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6" name="Рисунок 4">
            <a:extLst>
              <a:ext uri="{FF2B5EF4-FFF2-40B4-BE49-F238E27FC236}">
                <a16:creationId xmlns:a16="http://schemas.microsoft.com/office/drawing/2014/main" id="{E3A9C0C5-AC84-4226-BF8E-9E66ED832371}"/>
              </a:ext>
            </a:extLst>
          </p:cNvPr>
          <p:cNvSpPr>
            <a:spLocks noGrp="1"/>
          </p:cNvSpPr>
          <p:nvPr userDrawn="1">
            <p:ph type="pic" sz="quarter" idx="51" hasCustomPrompt="1"/>
          </p:nvPr>
        </p:nvSpPr>
        <p:spPr>
          <a:xfrm>
            <a:off x="2557331" y="3146113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8" name="Рисунок 4">
            <a:extLst>
              <a:ext uri="{FF2B5EF4-FFF2-40B4-BE49-F238E27FC236}">
                <a16:creationId xmlns:a16="http://schemas.microsoft.com/office/drawing/2014/main" id="{2EA98901-EED1-457C-B6E9-2BFE85A4E459}"/>
              </a:ext>
            </a:extLst>
          </p:cNvPr>
          <p:cNvSpPr>
            <a:spLocks noGrp="1"/>
          </p:cNvSpPr>
          <p:nvPr userDrawn="1">
            <p:ph type="pic" sz="quarter" idx="52" hasCustomPrompt="1"/>
          </p:nvPr>
        </p:nvSpPr>
        <p:spPr>
          <a:xfrm>
            <a:off x="596257" y="4941047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sp>
        <p:nvSpPr>
          <p:cNvPr id="29" name="Рисунок 4">
            <a:extLst>
              <a:ext uri="{FF2B5EF4-FFF2-40B4-BE49-F238E27FC236}">
                <a16:creationId xmlns:a16="http://schemas.microsoft.com/office/drawing/2014/main" id="{D276F7D8-B4AE-49DF-88D8-02E350696F48}"/>
              </a:ext>
            </a:extLst>
          </p:cNvPr>
          <p:cNvSpPr>
            <a:spLocks noGrp="1"/>
          </p:cNvSpPr>
          <p:nvPr userDrawn="1">
            <p:ph type="pic" sz="quarter" idx="53" hasCustomPrompt="1"/>
          </p:nvPr>
        </p:nvSpPr>
        <p:spPr>
          <a:xfrm>
            <a:off x="2557331" y="4941047"/>
            <a:ext cx="1047179" cy="1047019"/>
          </a:xfrm>
          <a:solidFill>
            <a:schemeClr val="tx1">
              <a:alpha val="10000"/>
            </a:schemeClr>
          </a:solidFill>
        </p:spPr>
        <p:txBody>
          <a:bodyPr anchor="ctr">
            <a:normAutofit/>
          </a:bodyPr>
          <a:lstStyle>
            <a:lvl1pPr marL="0" marR="0" indent="0" algn="ctr" defTabSz="446967" rtl="0" eaLnBrk="1" fontAlgn="auto" latinLnBrk="0" hangingPunct="1">
              <a:lnSpc>
                <a:spcPct val="100000"/>
              </a:lnSpc>
              <a:spcBef>
                <a:spcPts val="99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100" b="0">
                <a:latin typeface="+mn-lt"/>
              </a:defRPr>
            </a:lvl1pPr>
          </a:lstStyle>
          <a:p>
            <a:r>
              <a:rPr lang="en-US"/>
              <a:t>Drop your image he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6C1BC55-2E49-4327-8208-03A6446F05FF}"/>
              </a:ext>
            </a:extLst>
          </p:cNvPr>
          <p:cNvGrpSpPr/>
          <p:nvPr userDrawn="1"/>
        </p:nvGrpSpPr>
        <p:grpSpPr>
          <a:xfrm>
            <a:off x="2136477" y="1175146"/>
            <a:ext cx="5932127" cy="5385991"/>
            <a:chOff x="2136476" y="1041989"/>
            <a:chExt cx="5932126" cy="5519148"/>
          </a:xfrm>
        </p:grpSpPr>
        <p:cxnSp>
          <p:nvCxnSpPr>
            <p:cNvPr id="6" name="Прямая соединительная линия 62">
              <a:extLst>
                <a:ext uri="{FF2B5EF4-FFF2-40B4-BE49-F238E27FC236}">
                  <a16:creationId xmlns:a16="http://schemas.microsoft.com/office/drawing/2014/main" id="{F8566AF5-A3A4-4CF6-B595-6871C37EE961}"/>
                </a:ext>
              </a:extLst>
            </p:cNvPr>
            <p:cNvCxnSpPr/>
            <p:nvPr userDrawn="1"/>
          </p:nvCxnSpPr>
          <p:spPr>
            <a:xfrm>
              <a:off x="8068602" y="1041989"/>
              <a:ext cx="0" cy="5519148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62">
              <a:extLst>
                <a:ext uri="{FF2B5EF4-FFF2-40B4-BE49-F238E27FC236}">
                  <a16:creationId xmlns:a16="http://schemas.microsoft.com/office/drawing/2014/main" id="{2723DBFA-45F2-4439-B842-858315C3790E}"/>
                </a:ext>
              </a:extLst>
            </p:cNvPr>
            <p:cNvCxnSpPr/>
            <p:nvPr userDrawn="1"/>
          </p:nvCxnSpPr>
          <p:spPr>
            <a:xfrm>
              <a:off x="6091226" y="1041989"/>
              <a:ext cx="0" cy="5519148"/>
            </a:xfrm>
            <a:prstGeom prst="line">
              <a:avLst/>
            </a:prstGeom>
            <a:ln w="3175">
              <a:solidFill>
                <a:srgbClr val="000000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62">
              <a:extLst>
                <a:ext uri="{FF2B5EF4-FFF2-40B4-BE49-F238E27FC236}">
                  <a16:creationId xmlns:a16="http://schemas.microsoft.com/office/drawing/2014/main" id="{63161646-E3AA-4320-ADE9-FA94094FB8BE}"/>
                </a:ext>
              </a:extLst>
            </p:cNvPr>
            <p:cNvCxnSpPr/>
            <p:nvPr userDrawn="1"/>
          </p:nvCxnSpPr>
          <p:spPr>
            <a:xfrm>
              <a:off x="4113851" y="1041989"/>
              <a:ext cx="0" cy="5519148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62">
              <a:extLst>
                <a:ext uri="{FF2B5EF4-FFF2-40B4-BE49-F238E27FC236}">
                  <a16:creationId xmlns:a16="http://schemas.microsoft.com/office/drawing/2014/main" id="{33F82F2B-FC38-44F0-9A28-348EF17F56DB}"/>
                </a:ext>
              </a:extLst>
            </p:cNvPr>
            <p:cNvCxnSpPr/>
            <p:nvPr userDrawn="1"/>
          </p:nvCxnSpPr>
          <p:spPr>
            <a:xfrm>
              <a:off x="2136476" y="1041989"/>
              <a:ext cx="0" cy="5519148"/>
            </a:xfrm>
            <a:prstGeom prst="line">
              <a:avLst/>
            </a:prstGeom>
            <a:ln w="3175">
              <a:solidFill>
                <a:srgbClr val="000000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Footer Placeholder 6">
            <a:extLst>
              <a:ext uri="{FF2B5EF4-FFF2-40B4-BE49-F238E27FC236}">
                <a16:creationId xmlns:a16="http://schemas.microsoft.com/office/drawing/2014/main" id="{42557432-3AA9-45DC-9AFE-81DBF9C20F68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364369" y="6517502"/>
            <a:ext cx="5717232" cy="20632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GB"/>
              <a:t>Copyright © 2020 Accenture. All rights reserved.</a:t>
            </a:r>
          </a:p>
        </p:txBody>
      </p:sp>
      <p:sp>
        <p:nvSpPr>
          <p:cNvPr id="31" name="Slide Number Placeholder 9">
            <a:extLst>
              <a:ext uri="{FF2B5EF4-FFF2-40B4-BE49-F238E27FC236}">
                <a16:creationId xmlns:a16="http://schemas.microsoft.com/office/drawing/2014/main" id="{A81A90BC-F302-475E-8EF3-4AF195D3F188}"/>
              </a:ext>
            </a:extLst>
          </p:cNvPr>
          <p:cNvSpPr>
            <a:spLocks noGrp="1"/>
          </p:cNvSpPr>
          <p:nvPr userDrawn="1">
            <p:ph type="sldNum" sz="quarter" idx="17"/>
          </p:nvPr>
        </p:nvSpPr>
        <p:spPr>
          <a:xfrm>
            <a:off x="11493917" y="6517502"/>
            <a:ext cx="385863" cy="20632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2A1B31-6D83-4120-8918-CA1B916E00C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0" y="381002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27" name="Text Placeholder 41">
            <a:extLst>
              <a:ext uri="{FF2B5EF4-FFF2-40B4-BE49-F238E27FC236}">
                <a16:creationId xmlns:a16="http://schemas.microsoft.com/office/drawing/2014/main" id="{19F19FAE-5A47-4986-810C-26E86844DF96}"/>
              </a:ext>
            </a:extLst>
          </p:cNvPr>
          <p:cNvSpPr>
            <a:spLocks noGrp="1"/>
          </p:cNvSpPr>
          <p:nvPr userDrawn="1">
            <p:ph type="body" sz="quarter" idx="54" hasCustomPrompt="1"/>
          </p:nvPr>
        </p:nvSpPr>
        <p:spPr>
          <a:xfrm>
            <a:off x="596258" y="2453643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2" name="Text Placeholder 41">
            <a:extLst>
              <a:ext uri="{FF2B5EF4-FFF2-40B4-BE49-F238E27FC236}">
                <a16:creationId xmlns:a16="http://schemas.microsoft.com/office/drawing/2014/main" id="{9C8018DD-DBD4-4314-BDCF-FF8D36A2D32C}"/>
              </a:ext>
            </a:extLst>
          </p:cNvPr>
          <p:cNvSpPr>
            <a:spLocks noGrp="1"/>
          </p:cNvSpPr>
          <p:nvPr userDrawn="1">
            <p:ph type="body" sz="quarter" idx="55" hasCustomPrompt="1"/>
          </p:nvPr>
        </p:nvSpPr>
        <p:spPr>
          <a:xfrm>
            <a:off x="2557332" y="2453643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203626B8-56AC-400E-B6B6-E56806A9F000}"/>
              </a:ext>
            </a:extLst>
          </p:cNvPr>
          <p:cNvSpPr>
            <a:spLocks noGrp="1"/>
          </p:cNvSpPr>
          <p:nvPr userDrawn="1">
            <p:ph type="body" sz="quarter" idx="56" hasCustomPrompt="1"/>
          </p:nvPr>
        </p:nvSpPr>
        <p:spPr>
          <a:xfrm>
            <a:off x="4518405" y="2453643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7" name="Text Placeholder 41">
            <a:extLst>
              <a:ext uri="{FF2B5EF4-FFF2-40B4-BE49-F238E27FC236}">
                <a16:creationId xmlns:a16="http://schemas.microsoft.com/office/drawing/2014/main" id="{BD8F70A7-A266-48D2-B578-D58E0F82C9D1}"/>
              </a:ext>
            </a:extLst>
          </p:cNvPr>
          <p:cNvSpPr>
            <a:spLocks noGrp="1"/>
          </p:cNvSpPr>
          <p:nvPr userDrawn="1">
            <p:ph type="body" sz="quarter" idx="57" hasCustomPrompt="1"/>
          </p:nvPr>
        </p:nvSpPr>
        <p:spPr>
          <a:xfrm>
            <a:off x="6479480" y="2453643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8" name="Text Placeholder 41">
            <a:extLst>
              <a:ext uri="{FF2B5EF4-FFF2-40B4-BE49-F238E27FC236}">
                <a16:creationId xmlns:a16="http://schemas.microsoft.com/office/drawing/2014/main" id="{B3510158-278A-4A8E-9290-D79D421B070C}"/>
              </a:ext>
            </a:extLst>
          </p:cNvPr>
          <p:cNvSpPr>
            <a:spLocks noGrp="1"/>
          </p:cNvSpPr>
          <p:nvPr userDrawn="1">
            <p:ph type="body" sz="quarter" idx="58" hasCustomPrompt="1"/>
          </p:nvPr>
        </p:nvSpPr>
        <p:spPr>
          <a:xfrm>
            <a:off x="8440553" y="2453643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39" name="Text Placeholder 41">
            <a:extLst>
              <a:ext uri="{FF2B5EF4-FFF2-40B4-BE49-F238E27FC236}">
                <a16:creationId xmlns:a16="http://schemas.microsoft.com/office/drawing/2014/main" id="{B08731FC-01FB-47FD-A613-8FCE3CAF47E6}"/>
              </a:ext>
            </a:extLst>
          </p:cNvPr>
          <p:cNvSpPr>
            <a:spLocks noGrp="1"/>
          </p:cNvSpPr>
          <p:nvPr userDrawn="1">
            <p:ph type="body" sz="quarter" idx="59" hasCustomPrompt="1"/>
          </p:nvPr>
        </p:nvSpPr>
        <p:spPr>
          <a:xfrm>
            <a:off x="596258" y="4250115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0" name="Text Placeholder 41">
            <a:extLst>
              <a:ext uri="{FF2B5EF4-FFF2-40B4-BE49-F238E27FC236}">
                <a16:creationId xmlns:a16="http://schemas.microsoft.com/office/drawing/2014/main" id="{5EE3525B-83F0-4DA6-A59E-D895069246C8}"/>
              </a:ext>
            </a:extLst>
          </p:cNvPr>
          <p:cNvSpPr>
            <a:spLocks noGrp="1"/>
          </p:cNvSpPr>
          <p:nvPr userDrawn="1">
            <p:ph type="body" sz="quarter" idx="60" hasCustomPrompt="1"/>
          </p:nvPr>
        </p:nvSpPr>
        <p:spPr>
          <a:xfrm>
            <a:off x="2557332" y="4250115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1" name="Text Placeholder 41">
            <a:extLst>
              <a:ext uri="{FF2B5EF4-FFF2-40B4-BE49-F238E27FC236}">
                <a16:creationId xmlns:a16="http://schemas.microsoft.com/office/drawing/2014/main" id="{A5FDCC98-3598-42C1-8D54-CE384DFDAC01}"/>
              </a:ext>
            </a:extLst>
          </p:cNvPr>
          <p:cNvSpPr>
            <a:spLocks noGrp="1"/>
          </p:cNvSpPr>
          <p:nvPr userDrawn="1">
            <p:ph type="body" sz="quarter" idx="61" hasCustomPrompt="1"/>
          </p:nvPr>
        </p:nvSpPr>
        <p:spPr>
          <a:xfrm>
            <a:off x="4518405" y="4250115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EA20639-77B6-4218-B121-37C91C822459}"/>
              </a:ext>
            </a:extLst>
          </p:cNvPr>
          <p:cNvSpPr>
            <a:spLocks noGrp="1"/>
          </p:cNvSpPr>
          <p:nvPr userDrawn="1">
            <p:ph type="body" sz="quarter" idx="62" hasCustomPrompt="1"/>
          </p:nvPr>
        </p:nvSpPr>
        <p:spPr>
          <a:xfrm>
            <a:off x="6479480" y="4250115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AE697D51-4F11-419D-B5EA-11D0133AEC17}"/>
              </a:ext>
            </a:extLst>
          </p:cNvPr>
          <p:cNvSpPr>
            <a:spLocks noGrp="1"/>
          </p:cNvSpPr>
          <p:nvPr userDrawn="1">
            <p:ph type="body" sz="quarter" idx="63" hasCustomPrompt="1"/>
          </p:nvPr>
        </p:nvSpPr>
        <p:spPr>
          <a:xfrm>
            <a:off x="8440553" y="4250115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27C82E68-07B4-446D-8942-A9854051988D}"/>
              </a:ext>
            </a:extLst>
          </p:cNvPr>
          <p:cNvSpPr>
            <a:spLocks noGrp="1"/>
          </p:cNvSpPr>
          <p:nvPr userDrawn="1">
            <p:ph type="body" sz="quarter" idx="64" hasCustomPrompt="1"/>
          </p:nvPr>
        </p:nvSpPr>
        <p:spPr>
          <a:xfrm>
            <a:off x="596258" y="6046587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5" name="Text Placeholder 41">
            <a:extLst>
              <a:ext uri="{FF2B5EF4-FFF2-40B4-BE49-F238E27FC236}">
                <a16:creationId xmlns:a16="http://schemas.microsoft.com/office/drawing/2014/main" id="{F2F2DF06-83EA-4511-A6D1-3C9BE317DAA1}"/>
              </a:ext>
            </a:extLst>
          </p:cNvPr>
          <p:cNvSpPr>
            <a:spLocks noGrp="1"/>
          </p:cNvSpPr>
          <p:nvPr userDrawn="1">
            <p:ph type="body" sz="quarter" idx="65" hasCustomPrompt="1"/>
          </p:nvPr>
        </p:nvSpPr>
        <p:spPr>
          <a:xfrm>
            <a:off x="2557332" y="6046587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73D32013-B66F-489E-A456-233EA337E401}"/>
              </a:ext>
            </a:extLst>
          </p:cNvPr>
          <p:cNvSpPr>
            <a:spLocks noGrp="1"/>
          </p:cNvSpPr>
          <p:nvPr userDrawn="1">
            <p:ph type="body" sz="quarter" idx="66" hasCustomPrompt="1"/>
          </p:nvPr>
        </p:nvSpPr>
        <p:spPr>
          <a:xfrm>
            <a:off x="4518405" y="6046587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7" name="Text Placeholder 41">
            <a:extLst>
              <a:ext uri="{FF2B5EF4-FFF2-40B4-BE49-F238E27FC236}">
                <a16:creationId xmlns:a16="http://schemas.microsoft.com/office/drawing/2014/main" id="{A4A706FE-AD35-48C1-93D2-CBCD27B1CCB9}"/>
              </a:ext>
            </a:extLst>
          </p:cNvPr>
          <p:cNvSpPr>
            <a:spLocks noGrp="1"/>
          </p:cNvSpPr>
          <p:nvPr userDrawn="1">
            <p:ph type="body" sz="quarter" idx="67" hasCustomPrompt="1"/>
          </p:nvPr>
        </p:nvSpPr>
        <p:spPr>
          <a:xfrm>
            <a:off x="6479480" y="6046587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8" name="Text Placeholder 41">
            <a:extLst>
              <a:ext uri="{FF2B5EF4-FFF2-40B4-BE49-F238E27FC236}">
                <a16:creationId xmlns:a16="http://schemas.microsoft.com/office/drawing/2014/main" id="{18715187-C8D5-4EA7-BCED-4B2EB06717A9}"/>
              </a:ext>
            </a:extLst>
          </p:cNvPr>
          <p:cNvSpPr>
            <a:spLocks noGrp="1"/>
          </p:cNvSpPr>
          <p:nvPr userDrawn="1">
            <p:ph type="body" sz="quarter" idx="68" hasCustomPrompt="1"/>
          </p:nvPr>
        </p:nvSpPr>
        <p:spPr>
          <a:xfrm>
            <a:off x="8440553" y="6046587"/>
            <a:ext cx="1496657" cy="351564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051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</p:spTree>
    <p:extLst>
      <p:ext uri="{BB962C8B-B14F-4D97-AF65-F5344CB8AC3E}">
        <p14:creationId xmlns:p14="http://schemas.microsoft.com/office/powerpoint/2010/main" val="2530390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E063-97CA-4022-8D8E-B0FFF27ADB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2" y="1002890"/>
            <a:ext cx="11474448" cy="554001"/>
          </a:xfrm>
        </p:spPr>
        <p:txBody>
          <a:bodyPr lIns="0" tIns="0" rIns="0" bIns="0"/>
          <a:lstStyle>
            <a:lvl1pPr>
              <a:lnSpc>
                <a:spcPct val="80000"/>
              </a:lnSpc>
              <a:defRPr lang="en-US" sz="2400" b="0" i="0" kern="1200" cap="none" spc="0" baseline="0" dirty="0">
                <a:solidFill>
                  <a:schemeClr val="accent1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A0DC0F54-F49E-4B8A-A7FE-E19D46DF2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5571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defRPr sz="3600" cap="none">
                <a:latin typeface="Graphik Medium" panose="020B06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42336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 op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E061C87-E253-4832-BFB5-F70B539C64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48555" y="1527219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D736B21-FEC6-4C48-8E5F-B3E9F8FC16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27214" y="1527219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1A794C-A816-487F-9059-D501237AC8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405871" y="1527219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DE110EF0-57DB-4950-8ED4-8D41124F86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48555" y="3847210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A3B997E-F659-433E-86F4-4B27FA9774B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27214" y="3847210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2B60B8D-759C-4307-8E36-9168B41888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405871" y="3847210"/>
            <a:ext cx="1538492" cy="1538493"/>
          </a:xfrm>
          <a:prstGeom prst="ellipse">
            <a:avLst/>
          </a:prstGeom>
          <a:pattFill prst="pct40">
            <a:fgClr>
              <a:srgbClr val="C0C0C0"/>
            </a:fgClr>
            <a:bgClr>
              <a:schemeClr val="bg1"/>
            </a:bgClr>
          </a:pattFill>
        </p:spPr>
        <p:txBody>
          <a:bodyPr lIns="0" tIns="108000" rIns="0" anchor="ctr">
            <a:normAutofit/>
          </a:bodyPr>
          <a:lstStyle>
            <a:lvl1pPr algn="ctr">
              <a:lnSpc>
                <a:spcPct val="100000"/>
              </a:lnSpc>
              <a:defRPr sz="1100" b="0" i="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25" name="Text Placeholder 41">
            <a:extLst>
              <a:ext uri="{FF2B5EF4-FFF2-40B4-BE49-F238E27FC236}">
                <a16:creationId xmlns:a16="http://schemas.microsoft.com/office/drawing/2014/main" id="{A4B9EC08-5D3D-48F2-9AB1-7770047B54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64266" y="1862118"/>
            <a:ext cx="3390279" cy="4237175"/>
          </a:xfrm>
        </p:spPr>
        <p:txBody>
          <a:bodyPr wrap="square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 i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1200"/>
              </a:spcBef>
              <a:buNone/>
              <a:defRPr sz="1100">
                <a:latin typeface="+mn-lt"/>
              </a:defRPr>
            </a:lvl3pPr>
          </a:lstStyle>
          <a:p>
            <a:pPr lvl="0"/>
            <a:r>
              <a:rPr lang="da-DK"/>
              <a:t>Lorem ipsum dolor sit amet</a:t>
            </a:r>
          </a:p>
          <a:p>
            <a:pPr lvl="1"/>
            <a:r>
              <a:rPr lang="en-US"/>
              <a:t>Lorem ipsum</a:t>
            </a:r>
          </a:p>
          <a:p>
            <a:pPr lvl="2"/>
            <a:r>
              <a:rPr lang="en-US"/>
              <a:t>Second level</a:t>
            </a:r>
          </a:p>
          <a:p>
            <a:pPr lvl="0"/>
            <a:endParaRPr lang="da-DK"/>
          </a:p>
        </p:txBody>
      </p:sp>
      <p:sp>
        <p:nvSpPr>
          <p:cNvPr id="34" name="Text Placeholder 41">
            <a:extLst>
              <a:ext uri="{FF2B5EF4-FFF2-40B4-BE49-F238E27FC236}">
                <a16:creationId xmlns:a16="http://schemas.microsoft.com/office/drawing/2014/main" id="{2B003F39-F270-46FF-9344-21D69E43DEC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02405" y="3124212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1F7F3C36-D76D-4AD6-A0D1-AE7724ABC78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1063" y="3124212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6" name="Text Placeholder 41">
            <a:extLst>
              <a:ext uri="{FF2B5EF4-FFF2-40B4-BE49-F238E27FC236}">
                <a16:creationId xmlns:a16="http://schemas.microsoft.com/office/drawing/2014/main" id="{700BEA9C-A81E-4EBD-9878-38A5F510FF6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602405" y="5472566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7" name="Text Placeholder 41">
            <a:extLst>
              <a:ext uri="{FF2B5EF4-FFF2-40B4-BE49-F238E27FC236}">
                <a16:creationId xmlns:a16="http://schemas.microsoft.com/office/drawing/2014/main" id="{42F3C0C2-CD86-43D7-A3EA-3DA5FE129C1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1063" y="5472566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49" name="Text Placeholder 41">
            <a:extLst>
              <a:ext uri="{FF2B5EF4-FFF2-40B4-BE49-F238E27FC236}">
                <a16:creationId xmlns:a16="http://schemas.microsoft.com/office/drawing/2014/main" id="{9A347060-0556-49C6-9D77-CC316C0B07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123747" y="3124212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51" name="Text Placeholder 41">
            <a:extLst>
              <a:ext uri="{FF2B5EF4-FFF2-40B4-BE49-F238E27FC236}">
                <a16:creationId xmlns:a16="http://schemas.microsoft.com/office/drawing/2014/main" id="{06328224-8C69-4127-AF9B-C5FA3BFE646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23745" y="5472566"/>
            <a:ext cx="2188107" cy="650575"/>
          </a:xfrm>
        </p:spPr>
        <p:txBody>
          <a:bodyPr wrap="square">
            <a:norm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100" b="1" i="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100" b="0" i="0">
                <a:solidFill>
                  <a:schemeClr val="tx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00"/>
            </a:lvl3pPr>
          </a:lstStyle>
          <a:p>
            <a:pPr lvl="0"/>
            <a:r>
              <a:rPr lang="en-US"/>
              <a:t>Insert name here</a:t>
            </a:r>
          </a:p>
          <a:p>
            <a:pPr lvl="1"/>
            <a:r>
              <a:rPr lang="en-US"/>
              <a:t>Job title he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C0ACF71-073D-48C0-999B-6D1CE4AB8E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C11DE7B3-2954-471B-8CB9-ED5075A66DBA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20" name="Slide Number Placeholder 9">
            <a:extLst>
              <a:ext uri="{FF2B5EF4-FFF2-40B4-BE49-F238E27FC236}">
                <a16:creationId xmlns:a16="http://schemas.microsoft.com/office/drawing/2014/main" id="{936E0E9C-98F9-46E4-BD29-990665ED260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100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pace for chart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F69BFA2-96B2-F349-9AA5-A4A9E71ED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9273" y="1949821"/>
            <a:ext cx="3037643" cy="1111023"/>
          </a:xfr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defRPr b="1" i="0" baseline="0">
                <a:solidFill>
                  <a:schemeClr val="accent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r>
              <a:rPr lang="en-US"/>
              <a:t>Insert sub-title minimum font size 14p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446033-E2D8-1C47-9597-CCC225CD875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89273" y="3198308"/>
            <a:ext cx="3037643" cy="3134035"/>
          </a:xfrm>
        </p:spPr>
        <p:txBody>
          <a:bodyPr anchor="t"/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</a:defRPr>
            </a:lvl1pPr>
            <a:lvl2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2pPr>
            <a:lvl3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3pPr>
            <a:lvl4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4pPr>
            <a:lvl5pPr>
              <a:defRPr b="1" i="0">
                <a:solidFill>
                  <a:schemeClr val="accent1"/>
                </a:solidFill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Sed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 at </a:t>
            </a:r>
            <a:r>
              <a:rPr lang="en-US" err="1"/>
              <a:t>lobortis</a:t>
            </a:r>
            <a:r>
              <a:rPr lang="en-US"/>
              <a:t>.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non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dolor </a:t>
            </a:r>
            <a:r>
              <a:rPr lang="en-US" err="1"/>
              <a:t>auctor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lacinia </a:t>
            </a:r>
            <a:r>
              <a:rPr lang="en-US" err="1"/>
              <a:t>bibendu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sed </a:t>
            </a:r>
            <a:r>
              <a:rPr lang="en-US" err="1"/>
              <a:t>consectetur</a:t>
            </a:r>
            <a:r>
              <a:rPr lang="en-US"/>
              <a:t>.</a:t>
            </a:r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828E1058-8C71-4C72-BF4A-7C17B8AD12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06203" y="6519010"/>
            <a:ext cx="385711" cy="20637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6CF8D26F-BD88-477C-B142-00B4F67C87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lIns="0"/>
          <a:lstStyle>
            <a:lvl1pPr>
              <a:defRPr sz="800">
                <a:solidFill>
                  <a:schemeClr val="tx1">
                    <a:alpha val="40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047B39-E238-4B3A-808A-B1741821BB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2"/>
            <a:ext cx="11430000" cy="72643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Insert Main Title 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2820030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Add image here</a:t>
            </a:r>
            <a:endParaRPr lang="en-US"/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1" name="Graphic 4">
            <a:extLst>
              <a:ext uri="{FF2B5EF4-FFF2-40B4-BE49-F238E27FC236}">
                <a16:creationId xmlns:a16="http://schemas.microsoft.com/office/drawing/2014/main" id="{2823ABF6-DA1C-4C36-B01C-57A2B31166E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483349"/>
            <a:ext cx="192024" cy="203202"/>
          </a:xfrm>
          <a:custGeom>
            <a:avLst/>
            <a:gdLst>
              <a:gd name="connsiteX0" fmla="*/ 0 w 556260"/>
              <a:gd name="connsiteY0" fmla="*/ 415290 h 588644"/>
              <a:gd name="connsiteX1" fmla="*/ 324803 w 556260"/>
              <a:gd name="connsiteY1" fmla="*/ 295275 h 588644"/>
              <a:gd name="connsiteX2" fmla="*/ 0 w 556260"/>
              <a:gd name="connsiteY2" fmla="*/ 167640 h 588644"/>
              <a:gd name="connsiteX3" fmla="*/ 0 w 556260"/>
              <a:gd name="connsiteY3" fmla="*/ 0 h 588644"/>
              <a:gd name="connsiteX4" fmla="*/ 556260 w 556260"/>
              <a:gd name="connsiteY4" fmla="*/ 223838 h 588644"/>
              <a:gd name="connsiteX5" fmla="*/ 556260 w 556260"/>
              <a:gd name="connsiteY5" fmla="*/ 363855 h 588644"/>
              <a:gd name="connsiteX6" fmla="*/ 0 w 556260"/>
              <a:gd name="connsiteY6" fmla="*/ 588645 h 588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60" h="588644">
                <a:moveTo>
                  <a:pt x="0" y="415290"/>
                </a:moveTo>
                <a:lnTo>
                  <a:pt x="324803" y="295275"/>
                </a:lnTo>
                <a:lnTo>
                  <a:pt x="0" y="167640"/>
                </a:lnTo>
                <a:lnTo>
                  <a:pt x="0" y="0"/>
                </a:lnTo>
                <a:lnTo>
                  <a:pt x="556260" y="223838"/>
                </a:lnTo>
                <a:lnTo>
                  <a:pt x="556260" y="363855"/>
                </a:lnTo>
                <a:lnTo>
                  <a:pt x="0" y="58864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Text Placeholder 26">
            <a:extLst>
              <a:ext uri="{FF2B5EF4-FFF2-40B4-BE49-F238E27FC236}">
                <a16:creationId xmlns:a16="http://schemas.microsoft.com/office/drawing/2014/main" id="{9BC0904C-6BDA-4032-94C2-6417F59042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0997" y="380999"/>
            <a:ext cx="5333972" cy="2393952"/>
          </a:xfrm>
        </p:spPr>
        <p:txBody>
          <a:bodyPr anchor="ctr"/>
          <a:lstStyle>
            <a:lvl1pPr marL="0" indent="0">
              <a:buNone/>
              <a:defRPr kumimoji="0" lang="en-US" sz="3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P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lace headline here 36pt, min 30p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52323-3645-4D54-A333-3E2D3D1E3ED3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</a:rPr>
              <a:t>Copyright © 2021 Accenture. All rights reserved.</a:t>
            </a:r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17CEB-6634-4DFE-841E-12DDA90C7C5D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bg1">
                  <a:alpha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278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5ACBF0"/>
          </p15:clr>
        </p15:guide>
        <p15:guide id="2" pos="1920">
          <p15:clr>
            <a:srgbClr val="5ACBF0"/>
          </p15:clr>
        </p15:guide>
        <p15:guide id="3" pos="5760">
          <p15:clr>
            <a:srgbClr val="5ACBF0"/>
          </p15:clr>
        </p15:guide>
        <p15:guide id="4" orient="horz" pos="1985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96495" y="1639417"/>
            <a:ext cx="1017935" cy="252003"/>
          </a:xfrm>
        </p:spPr>
        <p:txBody>
          <a:bodyPr lIns="0" tIns="0" rIns="0" bIns="0"/>
          <a:lstStyle>
            <a:lvl1pPr>
              <a:defRPr sz="1638" b="0" i="0">
                <a:solidFill>
                  <a:srgbClr val="F7F7F1"/>
                </a:solidFill>
                <a:latin typeface="Courier New"/>
                <a:cs typeface="Courier Ne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155984" y="2887481"/>
            <a:ext cx="7880032" cy="287262"/>
          </a:xfrm>
        </p:spPr>
        <p:txBody>
          <a:bodyPr lIns="0" tIns="0" rIns="0" bIns="0"/>
          <a:lstStyle>
            <a:lvl1pPr>
              <a:defRPr sz="1867" b="0" i="0">
                <a:solidFill>
                  <a:srgbClr val="D4D4D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86" b="0" i="0" u="sng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pPr marL="77408">
              <a:lnSpc>
                <a:spcPts val="743"/>
              </a:lnSpc>
            </a:pPr>
            <a:fld id="{81D60167-4931-47E6-BA6A-407CBD079E47}" type="slidenum">
              <a:rPr lang="en-GB" spc="-53" smtClean="0"/>
              <a:pPr marL="77408">
                <a:lnSpc>
                  <a:spcPts val="743"/>
                </a:lnSpc>
              </a:pPr>
              <a:t>‹#›</a:t>
            </a:fld>
            <a:endParaRPr lang="en-GB" spc="-53"/>
          </a:p>
        </p:txBody>
      </p:sp>
    </p:spTree>
    <p:extLst>
      <p:ext uri="{BB962C8B-B14F-4D97-AF65-F5344CB8AC3E}">
        <p14:creationId xmlns:p14="http://schemas.microsoft.com/office/powerpoint/2010/main" val="1961089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86" b="0" i="0" u="sng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pPr marL="77408">
              <a:lnSpc>
                <a:spcPts val="743"/>
              </a:lnSpc>
            </a:pPr>
            <a:fld id="{81D60167-4931-47E6-BA6A-407CBD079E47}" type="slidenum">
              <a:rPr lang="en-GB" spc="-53" smtClean="0"/>
              <a:pPr marL="77408">
                <a:lnSpc>
                  <a:spcPts val="743"/>
                </a:lnSpc>
              </a:pPr>
              <a:t>‹#›</a:t>
            </a:fld>
            <a:endParaRPr lang="en-GB" spc="-53"/>
          </a:p>
        </p:txBody>
      </p:sp>
    </p:spTree>
    <p:extLst>
      <p:ext uri="{BB962C8B-B14F-4D97-AF65-F5344CB8AC3E}">
        <p14:creationId xmlns:p14="http://schemas.microsoft.com/office/powerpoint/2010/main" val="5720097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092515" y="1316709"/>
            <a:ext cx="8006972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1" y="3840480"/>
            <a:ext cx="8534400" cy="366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86" b="0" i="0" u="sng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pPr marL="77408">
              <a:lnSpc>
                <a:spcPts val="743"/>
              </a:lnSpc>
            </a:pPr>
            <a:fld id="{81D60167-4931-47E6-BA6A-407CBD079E47}" type="slidenum">
              <a:rPr lang="en-GB" spc="-53" smtClean="0"/>
              <a:pPr marL="77408">
                <a:lnSpc>
                  <a:spcPts val="743"/>
                </a:lnSpc>
              </a:pPr>
              <a:t>‹#›</a:t>
            </a:fld>
            <a:endParaRPr lang="en-GB" spc="-53"/>
          </a:p>
        </p:txBody>
      </p:sp>
    </p:spTree>
    <p:extLst>
      <p:ext uri="{BB962C8B-B14F-4D97-AF65-F5344CB8AC3E}">
        <p14:creationId xmlns:p14="http://schemas.microsoft.com/office/powerpoint/2010/main" val="19856091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7B0B3-9635-437A-B3B8-105A490A63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C9509C-4216-4E69-B3EA-A70C2DEF32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F5DCAF-FE73-4625-BC14-9888130F67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15D9F-A176-4671-B290-F5C803DACEB0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C18E6-C654-4399-BDF9-37E8A93DB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C4C851-287F-4255-9EB3-603A03324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48DB9C-9CFE-4D57-A6CC-A2B281A6E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838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08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 Rg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 Rg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14361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Graphik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267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ECB72B0-25C1-4195-933C-6C2D980455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5859" y="0"/>
            <a:ext cx="866614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3FA703-6FF0-4D7F-B631-B0221A9A84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sz="4400" b="0" kern="1200" cap="none" baseline="0" noProof="0" dirty="0">
                <a:solidFill>
                  <a:schemeClr val="tx1"/>
                </a:solidFill>
                <a:latin typeface="Graphik Medium" panose="020B0603030202060203" pitchFamily="34" charset="0"/>
                <a:ea typeface="+mj-ea"/>
                <a:cs typeface="+mj-cs"/>
              </a:defRPr>
            </a:lvl1pPr>
          </a:lstStyle>
          <a:p>
            <a:r>
              <a:rPr lang="en-US" sz="4400" noProof="0"/>
              <a:t>Insert statement text at 44pt minimum 36pt max </a:t>
            </a:r>
            <a:r>
              <a:rPr lang="en-US" sz="4400"/>
              <a:t>4 lines of text</a:t>
            </a:r>
          </a:p>
        </p:txBody>
      </p:sp>
    </p:spTree>
    <p:extLst>
      <p:ext uri="{BB962C8B-B14F-4D97-AF65-F5344CB8AC3E}">
        <p14:creationId xmlns:p14="http://schemas.microsoft.com/office/powerpoint/2010/main" val="42285391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2671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Salutation 72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3993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BDC21-70FE-403C-BEC0-96980360D7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033149"/>
            <a:ext cx="9144000" cy="1476815"/>
          </a:xfrm>
          <a:prstGeom prst="rect">
            <a:avLst/>
          </a:prstGeo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F29083-1BFA-4A5D-9551-04D3F6C9E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3692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3DD032-A9D4-4240-8E52-4F01BEEA6D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1C26E04-9239-45D8-A31B-7FC29089F000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453E97-3422-41DC-9FE8-A77211A33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D63BD1-8F7D-45E7-B6F6-3F0471F1E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77359"/>
            <a:ext cx="2743200" cy="123111"/>
          </a:xfrm>
          <a:prstGeom prst="rect">
            <a:avLst/>
          </a:prstGeom>
        </p:spPr>
        <p:txBody>
          <a:bodyPr/>
          <a:lstStyle/>
          <a:p>
            <a:fld id="{6709C1AD-78DE-423C-8167-A40981ED26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9549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Cover Optio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52C30B7-B4C4-4407-ADE2-E5D224FC08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13911" cy="6858000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D34D0F9-D456-1149-A7F5-299F74AD34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6269" y="2257472"/>
            <a:ext cx="7261529" cy="2458750"/>
          </a:xfrm>
        </p:spPr>
        <p:txBody>
          <a:bodyPr/>
          <a:lstStyle>
            <a:lvl1pPr marL="0" indent="0">
              <a:lnSpc>
                <a:spcPct val="75000"/>
              </a:lnSpc>
              <a:buNone/>
              <a:defRPr sz="70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The</a:t>
            </a:r>
            <a:br>
              <a:rPr lang="en-GB"/>
            </a:br>
            <a:r>
              <a:rPr lang="en-GB"/>
              <a:t>Main</a:t>
            </a:r>
            <a:br>
              <a:rPr lang="en-GB"/>
            </a:br>
            <a:r>
              <a:rPr lang="en-GB"/>
              <a:t>Title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18DEE10-2523-C041-963F-D3ECE2B4C11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6269" y="5096206"/>
            <a:ext cx="7261529" cy="275140"/>
          </a:xfrm>
        </p:spPr>
        <p:txBody>
          <a:bodyPr/>
          <a:lstStyle>
            <a:lvl1pPr marL="0" indent="0">
              <a:lnSpc>
                <a:spcPct val="75000"/>
              </a:lnSpc>
              <a:buNone/>
              <a:defRPr sz="2400" b="0" i="0">
                <a:solidFill>
                  <a:schemeClr val="bg1"/>
                </a:solidFill>
                <a:latin typeface="GT Sectra Fine Rg" pitchFamily="2" charset="77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2400" b="0">
                <a:solidFill>
                  <a:schemeClr val="bg1"/>
                </a:solidFill>
                <a:latin typeface="GT Sectra Fine Rg" pitchFamily="2" charset="77"/>
              </a:rPr>
              <a:t>The sub-title, maximum two lines</a:t>
            </a:r>
            <a:endParaRPr lang="en-US" sz="2400" b="0">
              <a:solidFill>
                <a:schemeClr val="bg1"/>
              </a:solidFill>
              <a:latin typeface="GT Sectra Fine Rg" pitchFamily="2" charset="7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52955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49F33C9-CAC3-E54E-BC3F-3E3D99F1A2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185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ing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56615" y="859769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BD83AE-1A59-43EF-9E16-69DF9EC9FD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615" y="1336675"/>
            <a:ext cx="11458384" cy="1249573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948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Heading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56615" y="859769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BD83AE-1A59-43EF-9E16-69DF9EC9FD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616" y="1336675"/>
            <a:ext cx="5496434" cy="1249573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DD297A-B2C3-49F6-9127-4B2EBBA362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565" y="1336675"/>
            <a:ext cx="5496434" cy="1249573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0759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Heading &amp; Subheading">
    <p:bg>
      <p:bgPr>
        <a:gradFill>
          <a:gsLst>
            <a:gs pos="76000">
              <a:schemeClr val="accent3"/>
            </a:gs>
            <a:gs pos="1000">
              <a:schemeClr val="accent1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56615" y="859769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bg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BD83AE-1A59-43EF-9E16-69DF9EC9FD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616" y="1336675"/>
            <a:ext cx="5496434" cy="124957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DD297A-B2C3-49F6-9127-4B2EBBA362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18565" y="1336675"/>
            <a:ext cx="5496434" cy="124957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24582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Heading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56615" y="859769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691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363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9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744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umping wo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46DAC97-500A-47AC-A1AC-0189D13B12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076"/>
          <a:stretch/>
        </p:blipFill>
        <p:spPr>
          <a:xfrm>
            <a:off x="-238288" y="236066"/>
            <a:ext cx="7602595" cy="627903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83E967C-EA48-4F22-B637-B7B69DFF12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943100"/>
            <a:ext cx="5582180" cy="1731199"/>
          </a:xfrm>
          <a:prstGeom prst="rect">
            <a:avLst/>
          </a:prstGeom>
        </p:spPr>
        <p:txBody>
          <a:bodyPr tIns="0" anchor="b" anchorCtr="0">
            <a:noAutofit/>
          </a:bodyPr>
          <a:lstStyle>
            <a:lvl1pPr marL="0" indent="0" algn="l" defTabSz="914377" rtl="0" eaLnBrk="1" fontAlgn="base" latinLnBrk="0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3600" b="0" kern="1200" cap="none" baseline="0" dirty="0">
                <a:solidFill>
                  <a:schemeClr val="tx1"/>
                </a:solidFill>
                <a:latin typeface="Graphik Medium" panose="020B0603030202060203" pitchFamily="34" charset="0"/>
                <a:ea typeface="+mj-ea"/>
                <a:cs typeface="+mj-cs"/>
              </a:defRPr>
            </a:lvl1pPr>
          </a:lstStyle>
          <a:p>
            <a:r>
              <a:rPr lang="en-US" sz="3600" noProof="0"/>
              <a:t>Insert statement text at 30pt minimum 28pt max </a:t>
            </a:r>
            <a:r>
              <a:rPr lang="en-US" sz="3600"/>
              <a:t>4 lines of text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78F44D5-AD0F-4EEF-A7D5-C73642E509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32961" y="3932451"/>
            <a:ext cx="4145219" cy="360099"/>
          </a:xfrm>
        </p:spPr>
        <p:txBody>
          <a:bodyPr>
            <a:spAutoFit/>
          </a:bodyPr>
          <a:lstStyle>
            <a:lvl1pPr marL="0" marR="0" indent="0" algn="l" defTabSz="91421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en-US" sz="1600" b="0" kern="1200" cap="all" baseline="0" dirty="0">
                <a:solidFill>
                  <a:srgbClr val="FF0000"/>
                </a:solidFill>
                <a:latin typeface="Graphik Thin" panose="020B0203030202060203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Replace photo</a:t>
            </a:r>
          </a:p>
        </p:txBody>
      </p:sp>
    </p:spTree>
    <p:extLst>
      <p:ext uri="{BB962C8B-B14F-4D97-AF65-F5344CB8AC3E}">
        <p14:creationId xmlns:p14="http://schemas.microsoft.com/office/powerpoint/2010/main" val="2555434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36648E79-5079-4D15-BEB2-2A30564D7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0930"/>
            <a:ext cx="5160085" cy="6868929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885F764-41D5-CA45-B76C-05552EFD8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97BB5C2-127E-4A43-9E60-5636AD4A618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7040099" y="5022037"/>
            <a:ext cx="12932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B86F2BA-513F-2C4C-ACB9-607E3D18D65F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9167092" y="5022037"/>
            <a:ext cx="12932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CA0CCC-F6A0-454B-910B-AD145427AEBC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7040099" y="3000373"/>
            <a:ext cx="12932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823D358-B44B-E241-A6F7-5040494513FE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9167092" y="3000373"/>
            <a:ext cx="12932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05131BF-B1EE-9942-9E00-C21C88234D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655" y="4482952"/>
            <a:ext cx="4406294" cy="1077218"/>
          </a:xfrm>
        </p:spPr>
        <p:txBody>
          <a:bodyPr/>
          <a:lstStyle>
            <a:lvl1pPr marL="0" indent="0">
              <a:buNone/>
              <a:defRPr sz="70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genda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0FF7FC07-9F2F-CD46-95C2-454E3EA0B2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91959" y="2954801"/>
            <a:ext cx="1560763" cy="492443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DC2134A6-F71D-674D-8715-F42C9109B8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693" y="2954801"/>
            <a:ext cx="1560763" cy="49244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FFA30307-CB9F-724B-B3D6-46073B8FC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29428" y="2954801"/>
            <a:ext cx="1560763" cy="49244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C559F1A9-CE07-F54D-95BA-B2A308C64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91959" y="4934796"/>
            <a:ext cx="1560763" cy="49244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40443AF3-60DA-5940-A18C-AC9C44B036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10693" y="4934796"/>
            <a:ext cx="1560763" cy="49244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0D1B21AD-93B7-BD49-AA35-B745B49117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29428" y="4934796"/>
            <a:ext cx="1560763" cy="492443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Insert Title at 16 </a:t>
            </a:r>
            <a:r>
              <a:rPr lang="en-US" err="1">
                <a:solidFill>
                  <a:schemeClr val="tx2"/>
                </a:solidFill>
              </a:rPr>
              <a:t>pt</a:t>
            </a:r>
            <a:r>
              <a:rPr lang="en-US">
                <a:solidFill>
                  <a:schemeClr val="tx2"/>
                </a:solidFill>
              </a:rPr>
              <a:t> or less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E2A36B09-C62E-AF4D-B572-DC03475EEA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91959" y="2229876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357220F7-71EC-8345-98EE-3989D88EA8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10693" y="2229876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06489BFC-AB08-1C46-ADD4-88B11C4280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29428" y="2229876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id="{B3A3A874-6907-5A40-9BF1-A261BC8F3B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91959" y="4241557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810AE36F-5709-3140-9C35-14B3E92EAC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10693" y="4241557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id="{B4E14B1D-441C-844D-9C5D-3447E27F77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29428" y="4241557"/>
            <a:ext cx="1560763" cy="615553"/>
          </a:xfrm>
        </p:spPr>
        <p:txBody>
          <a:bodyPr/>
          <a:lstStyle>
            <a:lvl1pPr marL="0" indent="0">
              <a:buNone/>
              <a:defRPr sz="4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4122442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5C78C01-C811-484D-9AF8-4905132905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6096000" y="0"/>
            <a:ext cx="6096001" cy="6858000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885F764-41D5-CA45-B76C-05552EFD8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00CEF17-56C0-0045-806A-36F4EA8A74CF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1066136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05131BF-B1EE-9942-9E00-C21C88234D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655" y="2852431"/>
            <a:ext cx="4406294" cy="1077218"/>
          </a:xfrm>
        </p:spPr>
        <p:txBody>
          <a:bodyPr/>
          <a:lstStyle>
            <a:lvl1pPr marL="0" indent="0">
              <a:buNone/>
              <a:defRPr sz="7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genda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E2A36B09-C62E-AF4D-B572-DC03475EEA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4891" y="1066134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0538B2-2149-7D42-B4AB-24BF1A9FE5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0580" y="1127690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94E7B11-5A61-B24C-98D9-DF4D05A54563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1776676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4">
            <a:extLst>
              <a:ext uri="{FF2B5EF4-FFF2-40B4-BE49-F238E27FC236}">
                <a16:creationId xmlns:a16="http://schemas.microsoft.com/office/drawing/2014/main" id="{BB426FEB-1D27-F644-8B74-5BF865D907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4891" y="1776674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B90E3A67-961E-DB4A-B244-66296E0D7B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0580" y="1838230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D39C4AC-3951-F94C-A520-DA85FAF18E04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2487216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1FD459F9-3AB7-3249-A7C9-FA27AB80AA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4891" y="2487214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DBB04876-5227-344D-9ADC-CB089C5D3C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0580" y="2548770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5890F34-B911-C949-9B3A-9A1FCA2042BF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3197756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24">
            <a:extLst>
              <a:ext uri="{FF2B5EF4-FFF2-40B4-BE49-F238E27FC236}">
                <a16:creationId xmlns:a16="http://schemas.microsoft.com/office/drawing/2014/main" id="{0FFD232E-12BB-3F4D-8F30-231ED67619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4891" y="3197754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00BAF363-DC6F-C541-814D-F42FEC256B7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20580" y="3259310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6D37D71-ADBC-BB46-9802-ABE333E7FC5A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3911599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4">
            <a:extLst>
              <a:ext uri="{FF2B5EF4-FFF2-40B4-BE49-F238E27FC236}">
                <a16:creationId xmlns:a16="http://schemas.microsoft.com/office/drawing/2014/main" id="{9249E71D-FE5F-184D-9327-AD333D10B7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4891" y="3911598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284C69F7-3804-7247-BD98-E256AB31BB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20580" y="3973153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6388B8D-435E-F54D-8245-B1F4BA91FC07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4618836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4">
            <a:extLst>
              <a:ext uri="{FF2B5EF4-FFF2-40B4-BE49-F238E27FC236}">
                <a16:creationId xmlns:a16="http://schemas.microsoft.com/office/drawing/2014/main" id="{B59B6A29-6C68-5048-A6FC-4C03D103ACE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891" y="4618834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16B23B1-9A69-4F40-A97C-529A0D0E94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20580" y="4680390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7B4A61B-AA9E-F347-89B8-7E5BEC88AE2D}"/>
              </a:ext>
            </a:extLst>
          </p:cNvPr>
          <p:cNvCxnSpPr>
            <a:cxnSpLocks/>
          </p:cNvCxnSpPr>
          <p:nvPr userDrawn="1"/>
        </p:nvCxnSpPr>
        <p:spPr>
          <a:xfrm flipV="1">
            <a:off x="7797562" y="5326072"/>
            <a:ext cx="0" cy="3693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4">
            <a:extLst>
              <a:ext uri="{FF2B5EF4-FFF2-40B4-BE49-F238E27FC236}">
                <a16:creationId xmlns:a16="http://schemas.microsoft.com/office/drawing/2014/main" id="{2F695355-4B45-0040-82CA-1BF2D1281D7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4891" y="5326070"/>
            <a:ext cx="1349653" cy="369332"/>
          </a:xfrm>
        </p:spPr>
        <p:txBody>
          <a:bodyPr/>
          <a:lstStyle>
            <a:lvl1pPr marL="0" indent="0" algn="r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E6CC1EC4-AA63-B74C-A72C-BAC47958A8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20580" y="5387626"/>
            <a:ext cx="3795325" cy="24622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Title at 16pt</a:t>
            </a:r>
          </a:p>
        </p:txBody>
      </p:sp>
    </p:spTree>
    <p:extLst>
      <p:ext uri="{BB962C8B-B14F-4D97-AF65-F5344CB8AC3E}">
        <p14:creationId xmlns:p14="http://schemas.microsoft.com/office/powerpoint/2010/main" val="22146056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2419350"/>
            <a:ext cx="4919356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19922B-A249-9D4E-90B8-273B950D28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282" y="2934890"/>
            <a:ext cx="4919356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8AE8BB0-9C41-F446-A929-9F61F6029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7282" y="3378650"/>
            <a:ext cx="4919356" cy="126188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1218986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54B06C8-DC9D-4849-81D3-71DA0886E92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6615" y="803497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6093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2419350"/>
            <a:ext cx="4919356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19922B-A249-9D4E-90B8-273B950D28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282" y="2934890"/>
            <a:ext cx="4919356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8AE8BB0-9C41-F446-A929-9F61F6029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7282" y="3378650"/>
            <a:ext cx="4919356" cy="126188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1218986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26A34E-EEA0-5348-AAEF-C13ADEA413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0252" y="2419350"/>
            <a:ext cx="4919356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CBC4934-C60D-DE49-8064-EB786EB69B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252" y="2934890"/>
            <a:ext cx="4919356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80EFE3-E919-F944-A1CF-28E44669C7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0252" y="3378650"/>
            <a:ext cx="4919356" cy="126188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1218986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6773A26-8F6A-D448-9AFC-CD98507FE90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6615" y="803497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8588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2419350"/>
            <a:ext cx="3706839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19922B-A249-9D4E-90B8-273B950D28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282" y="2934890"/>
            <a:ext cx="3706839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8AE8BB0-9C41-F446-A929-9F61F6029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7298" y="3378650"/>
            <a:ext cx="2825842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DF05E1A-8532-714C-9BF4-CA257F3C8F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2913" y="2419350"/>
            <a:ext cx="3706839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E8E5BC9-3FB6-964C-91D9-21B7FBBE47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2913" y="2934890"/>
            <a:ext cx="3706839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89B73C2-E39B-6346-8152-10B8F59244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880" y="2419350"/>
            <a:ext cx="3706839" cy="369332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4BC1F00-A34C-594A-B67B-352D9F4C2A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7880" y="2934890"/>
            <a:ext cx="3706839" cy="246221"/>
          </a:xfr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C087874E-93E3-C043-94AB-7AB7164652C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6615" y="3378650"/>
            <a:ext cx="671687" cy="153888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GB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D70D2E8-F5C4-904A-AADB-2177B63D64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82929" y="3378650"/>
            <a:ext cx="2825842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C6D61E89-B555-5749-936A-5918A6BDE8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42246" y="3378650"/>
            <a:ext cx="671687" cy="153888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GB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9CBC5DF-797C-B947-9713-26BA143B33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2269" y="3378650"/>
            <a:ext cx="2825842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6" name="Picture Placeholder 21">
            <a:extLst>
              <a:ext uri="{FF2B5EF4-FFF2-40B4-BE49-F238E27FC236}">
                <a16:creationId xmlns:a16="http://schemas.microsoft.com/office/drawing/2014/main" id="{46708EEE-CF11-C243-830C-4B32E2C5709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31587" y="3378650"/>
            <a:ext cx="671687" cy="153888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57F2F11-3990-D04B-95BE-A4EEED07E5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6615" y="803497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899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Content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2419350"/>
            <a:ext cx="3706839" cy="738664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r>
              <a:rPr lang="en-GB"/>
              <a:t>Space for 4 lines of introduction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DF05E1A-8532-714C-9BF4-CA257F3C8F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2913" y="2419351"/>
            <a:ext cx="3706839" cy="307777"/>
          </a:xfrm>
        </p:spPr>
        <p:txBody>
          <a:bodyPr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E8E5BC9-3FB6-964C-91D9-21B7FBBE47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42913" y="2796754"/>
            <a:ext cx="3706839" cy="215444"/>
          </a:xfr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89B73C2-E39B-6346-8152-10B8F59244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880" y="2419351"/>
            <a:ext cx="3706839" cy="307777"/>
          </a:xfrm>
        </p:spPr>
        <p:txBody>
          <a:bodyPr/>
          <a:lstStyle>
            <a:lvl1pPr marL="0" indent="0">
              <a:buNone/>
              <a:defRPr sz="20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4BC1F00-A34C-594A-B67B-352D9F4C2A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7880" y="2796754"/>
            <a:ext cx="3706839" cy="215444"/>
          </a:xfr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Add your content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D70D2E8-F5C4-904A-AADB-2177B63D64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38540" y="3139608"/>
            <a:ext cx="3711213" cy="553998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9CBC5DF-797C-B947-9713-26BA143B33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880" y="3139608"/>
            <a:ext cx="3711213" cy="553998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9E1597D-BD0A-DE48-B17E-F3BFDB6505E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6615" y="803497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5140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Content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2423929"/>
            <a:ext cx="3305098" cy="830997"/>
          </a:xfrm>
        </p:spPr>
        <p:txBody>
          <a:bodyPr/>
          <a:lstStyle>
            <a:lvl1pPr marL="0" indent="0">
              <a:buNone/>
              <a:defRPr sz="5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8AE8BB0-9C41-F446-A929-9F61F6029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616" y="3518694"/>
            <a:ext cx="3305693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DF05E1A-8532-714C-9BF4-CA257F3C8F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2913" y="2423929"/>
            <a:ext cx="3305098" cy="830997"/>
          </a:xfrm>
        </p:spPr>
        <p:txBody>
          <a:bodyPr/>
          <a:lstStyle>
            <a:lvl1pPr marL="0" indent="0">
              <a:buNone/>
              <a:defRPr sz="5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89B73C2-E39B-6346-8152-10B8F59244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880" y="2423929"/>
            <a:ext cx="3305098" cy="830997"/>
          </a:xfrm>
        </p:spPr>
        <p:txBody>
          <a:bodyPr/>
          <a:lstStyle>
            <a:lvl1pPr marL="0" indent="0">
              <a:buNone/>
              <a:defRPr sz="54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D70D2E8-F5C4-904A-AADB-2177B63D64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42247" y="3518694"/>
            <a:ext cx="3305693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9CBC5DF-797C-B947-9713-26BA143B33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31588" y="3518694"/>
            <a:ext cx="3305693" cy="738664"/>
          </a:xfrm>
        </p:spPr>
        <p:txBody>
          <a:bodyPr/>
          <a:lstStyle>
            <a:lvl1pPr marL="0" indent="0">
              <a:buNone/>
              <a:defRPr/>
            </a:lvl1pPr>
            <a:lvl2pPr marL="609494" indent="0">
              <a:buNone/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 sz="1200"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marL="285750" lvl="2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Lorem ipsum </a:t>
            </a:r>
            <a:r>
              <a:rPr lang="en-GB" err="1">
                <a:solidFill>
                  <a:schemeClr val="tx2"/>
                </a:solidFill>
              </a:rPr>
              <a:t>dolor</a:t>
            </a:r>
            <a:r>
              <a:rPr lang="en-GB">
                <a:solidFill>
                  <a:schemeClr val="tx2"/>
                </a:solidFill>
              </a:rPr>
              <a:t> sit </a:t>
            </a:r>
            <a:r>
              <a:rPr lang="en-GB" err="1">
                <a:solidFill>
                  <a:schemeClr val="tx2"/>
                </a:solidFill>
              </a:rPr>
              <a:t>amet</a:t>
            </a:r>
            <a:r>
              <a:rPr lang="en-GB">
                <a:solidFill>
                  <a:schemeClr val="tx2"/>
                </a:solidFill>
              </a:rPr>
              <a:t>, </a:t>
            </a:r>
            <a:r>
              <a:rPr lang="en-GB" err="1">
                <a:solidFill>
                  <a:schemeClr val="tx2"/>
                </a:solidFill>
              </a:rPr>
              <a:t>consectetue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adipiscing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elit</a:t>
            </a:r>
            <a:r>
              <a:rPr lang="en-GB">
                <a:solidFill>
                  <a:schemeClr val="tx2"/>
                </a:solidFill>
              </a:rPr>
              <a:t>. Maecenas </a:t>
            </a:r>
            <a:r>
              <a:rPr lang="en-GB" err="1">
                <a:solidFill>
                  <a:schemeClr val="tx2"/>
                </a:solidFill>
              </a:rPr>
              <a:t>porttitor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congu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massa</a:t>
            </a:r>
            <a:r>
              <a:rPr lang="en-GB">
                <a:solidFill>
                  <a:schemeClr val="tx2"/>
                </a:solidFill>
              </a:rPr>
              <a:t>. </a:t>
            </a:r>
            <a:r>
              <a:rPr lang="en-GB" err="1">
                <a:solidFill>
                  <a:schemeClr val="tx2"/>
                </a:solidFill>
              </a:rPr>
              <a:t>Fusce</a:t>
            </a:r>
            <a:r>
              <a:rPr lang="en-GB">
                <a:solidFill>
                  <a:schemeClr val="tx2"/>
                </a:solidFill>
              </a:rPr>
              <a:t> </a:t>
            </a:r>
            <a:r>
              <a:rPr lang="en-GB" err="1">
                <a:solidFill>
                  <a:schemeClr val="tx2"/>
                </a:solidFill>
              </a:rPr>
              <a:t>posuere</a:t>
            </a:r>
            <a:r>
              <a:rPr lang="en-GB">
                <a:solidFill>
                  <a:schemeClr val="tx2"/>
                </a:solidFill>
              </a:rPr>
              <a:t>, magna </a:t>
            </a:r>
            <a:r>
              <a:rPr lang="en-GB" err="1">
                <a:solidFill>
                  <a:schemeClr val="tx2"/>
                </a:solidFill>
              </a:rPr>
              <a:t>sed</a:t>
            </a:r>
            <a:r>
              <a:rPr lang="en-GB">
                <a:solidFill>
                  <a:schemeClr val="tx2"/>
                </a:solidFill>
              </a:rPr>
              <a:t> pulvinar </a:t>
            </a:r>
            <a:r>
              <a:rPr lang="en-GB" err="1">
                <a:solidFill>
                  <a:schemeClr val="tx2"/>
                </a:solidFill>
              </a:rPr>
              <a:t>ultricies</a:t>
            </a:r>
            <a:endParaRPr lang="en-GB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427CF5-5833-524F-B65F-CEEDC73F07B4}"/>
              </a:ext>
            </a:extLst>
          </p:cNvPr>
          <p:cNvGrpSpPr/>
          <p:nvPr userDrawn="1"/>
        </p:nvGrpSpPr>
        <p:grpSpPr>
          <a:xfrm>
            <a:off x="3810994" y="2423929"/>
            <a:ext cx="3878743" cy="2035029"/>
            <a:chOff x="3810001" y="3518694"/>
            <a:chExt cx="3877733" cy="9402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A2CAA8C-6910-2B4B-916A-67030B05E6DC}"/>
                </a:ext>
              </a:extLst>
            </p:cNvPr>
            <p:cNvCxnSpPr/>
            <p:nvPr userDrawn="1"/>
          </p:nvCxnSpPr>
          <p:spPr>
            <a:xfrm>
              <a:off x="3810001" y="3518694"/>
              <a:ext cx="0" cy="940263"/>
            </a:xfrm>
            <a:prstGeom prst="lin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0484440-7074-D347-98A0-0E413FC5C089}"/>
                </a:ext>
              </a:extLst>
            </p:cNvPr>
            <p:cNvCxnSpPr/>
            <p:nvPr userDrawn="1"/>
          </p:nvCxnSpPr>
          <p:spPr>
            <a:xfrm>
              <a:off x="7687734" y="3518694"/>
              <a:ext cx="0" cy="940263"/>
            </a:xfrm>
            <a:prstGeom prst="lin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9A7988A-1AAA-D64D-8240-D22AF289AD2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6615" y="803497"/>
            <a:ext cx="11458384" cy="246221"/>
          </a:xfrm>
        </p:spPr>
        <p:txBody>
          <a:bodyPr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GT Sectra Fine Rg" pitchFamily="2" charset="77"/>
              </a:defRPr>
            </a:lvl1pPr>
            <a:lvl2pPr marL="609494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2pPr>
            <a:lvl3pPr marL="1218986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3pPr>
            <a:lvl4pPr marL="1828480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4pPr>
            <a:lvl5pPr marL="2437973" indent="0">
              <a:buNone/>
              <a:defRPr b="0" i="0">
                <a:solidFill>
                  <a:schemeClr val="tx1"/>
                </a:solidFill>
                <a:latin typeface="Graphik Extralight" panose="020B0303030202060203" pitchFamily="34" charset="77"/>
              </a:defRPr>
            </a:lvl5pPr>
          </a:lstStyle>
          <a:p>
            <a:pPr lvl="0"/>
            <a:r>
              <a:rPr lang="en-GB"/>
              <a:t>Subheading line 16 </a:t>
            </a:r>
            <a:r>
              <a:rPr lang="en-GB" err="1"/>
              <a:t>pt</a:t>
            </a:r>
            <a:r>
              <a:rPr lang="en-GB"/>
              <a:t>, two lines maxim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420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Content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2776D-0AC8-4D4C-BB82-FD022762F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0468BC-AC5F-1B46-8876-5AD5767AE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3" y="3857085"/>
            <a:ext cx="2791472" cy="276999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19922B-A249-9D4E-90B8-273B950D28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283" y="4214927"/>
            <a:ext cx="2791472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ECA1564-41C3-7945-9171-19AF23EA7D6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2908" y="1611959"/>
            <a:ext cx="1978540" cy="1979614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1FB2997-AB3C-0C48-8161-8FF3DEEB30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2907" y="4630965"/>
            <a:ext cx="2791472" cy="981807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Biography, personal description.</a:t>
            </a:r>
          </a:p>
          <a:p>
            <a:pPr lvl="0"/>
            <a:endParaRPr lang="en-GB"/>
          </a:p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472600A-52C4-6E45-8B2E-F639C5501C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4071" y="1593240"/>
            <a:ext cx="2211664" cy="301313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8F9CA206-F2AF-A14B-9FC7-B5DDADE728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53291" y="1593240"/>
            <a:ext cx="2211664" cy="301313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2AC493E-FE5F-474C-87DF-B70326396D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82510" y="1593240"/>
            <a:ext cx="2433416" cy="246221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Project Nam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44F6A55-3125-1642-9C75-A98E9200AF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510" y="1842212"/>
            <a:ext cx="2433416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Client Nam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CF159F4-68CA-4849-8344-5CA56A0CD0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78135" y="2049841"/>
            <a:ext cx="2433416" cy="575542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14BD371-E37C-2F45-93F5-B65E6E15F2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82510" y="3042030"/>
            <a:ext cx="2433416" cy="246221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Project Nam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4D79069-B447-744A-8397-3593897715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82510" y="3291002"/>
            <a:ext cx="2433416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Client Name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5D50709B-6B56-D241-BBD4-8DAD11C02B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378135" y="3498631"/>
            <a:ext cx="2433416" cy="575542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040C3CD-A1C9-DC48-B09A-B90A1FF12C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82510" y="4514570"/>
            <a:ext cx="2433416" cy="246221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Project Nam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6047A6DA-1889-9340-8803-FC8404F2F4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82510" y="4763542"/>
            <a:ext cx="2433416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Client Name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817A2590-670A-3B4E-AE84-225E055E17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78135" y="4971171"/>
            <a:ext cx="2433416" cy="575542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8871898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CD0521-637B-1F4E-BDDC-D6CE65C7E3D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6615" y="1203403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4E003D-62E8-B043-95C7-AD7FA8693D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3" y="2653785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92CDFF-9765-6648-9BE5-FEE3A75262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7283" y="2846694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E2ED266-2DDF-7E4E-B4D5-FF9A562A32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6615" y="3042655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DA961D6-AB75-CB41-B04B-24216D09518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863595" y="1203403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B83EF8D8-BD8C-D640-9845-51DC2FE4FA9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370575" y="1203403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7E2763EB-AB5A-E145-93D7-B14A603653B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877555" y="1203403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942C5619-8517-234B-AA07-859BA2D5AB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384538" y="1203403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DE8821D-23EB-664B-965C-5AD70320E74C}"/>
              </a:ext>
            </a:extLst>
          </p:cNvPr>
          <p:cNvGrpSpPr/>
          <p:nvPr userDrawn="1"/>
        </p:nvGrpSpPr>
        <p:grpSpPr>
          <a:xfrm>
            <a:off x="2325799" y="1203404"/>
            <a:ext cx="7520940" cy="5011131"/>
            <a:chOff x="2325193" y="1237269"/>
            <a:chExt cx="7518981" cy="5129664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B39DC84-75C3-7943-82E9-AF59D74FAFE2}"/>
                </a:ext>
              </a:extLst>
            </p:cNvPr>
            <p:cNvCxnSpPr/>
            <p:nvPr userDrawn="1"/>
          </p:nvCxnSpPr>
          <p:spPr>
            <a:xfrm>
              <a:off x="2325193" y="1237269"/>
              <a:ext cx="0" cy="5129664"/>
            </a:xfrm>
            <a:prstGeom prst="line">
              <a:avLst/>
            </a:prstGeom>
            <a:ln w="3175"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231099D-7417-934C-A261-6F278DCD6973}"/>
                </a:ext>
              </a:extLst>
            </p:cNvPr>
            <p:cNvCxnSpPr/>
            <p:nvPr userDrawn="1"/>
          </p:nvCxnSpPr>
          <p:spPr>
            <a:xfrm>
              <a:off x="4831520" y="1237269"/>
              <a:ext cx="0" cy="5129664"/>
            </a:xfrm>
            <a:prstGeom prst="line">
              <a:avLst/>
            </a:prstGeom>
            <a:ln w="3175"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4570B03-5055-3A4B-9E07-8FD558A802CC}"/>
                </a:ext>
              </a:extLst>
            </p:cNvPr>
            <p:cNvCxnSpPr/>
            <p:nvPr userDrawn="1"/>
          </p:nvCxnSpPr>
          <p:spPr>
            <a:xfrm>
              <a:off x="7337847" y="1237269"/>
              <a:ext cx="0" cy="5129664"/>
            </a:xfrm>
            <a:prstGeom prst="line">
              <a:avLst/>
            </a:prstGeom>
            <a:ln w="3175"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3C6CFBF-1BAD-A942-BEB2-A06EB692259B}"/>
                </a:ext>
              </a:extLst>
            </p:cNvPr>
            <p:cNvCxnSpPr/>
            <p:nvPr userDrawn="1"/>
          </p:nvCxnSpPr>
          <p:spPr>
            <a:xfrm>
              <a:off x="9844174" y="1237269"/>
              <a:ext cx="0" cy="5129664"/>
            </a:xfrm>
            <a:prstGeom prst="line">
              <a:avLst/>
            </a:prstGeom>
            <a:ln w="3175">
              <a:solidFill>
                <a:schemeClr val="tx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9C0EE12-1DE2-1849-AEC3-C3B0D908C7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63928" y="2653785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9764348-EDD1-084F-9802-6619BC52BC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63928" y="2846694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DFE19A9-CB24-BA4D-B7E8-1C735A8994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63260" y="3042655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E0C54DE-1080-F343-8C70-076E5143AC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70114" y="2653785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F59ED5B-FC03-1144-A2ED-91EA97A20A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70114" y="2846694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6E532D6-E2C7-F245-901A-E67C924065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69446" y="3042655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DEB7412-D93B-B541-B381-C38B952642D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6301" y="2653785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E4B0F17-8299-1F4C-AE96-1D6D91D089B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6301" y="2846694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B7741D4C-93D4-604B-AFB1-14940E1EDF3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5633" y="3042655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820BBED-B60B-FC42-A659-E376F92A28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382488" y="2653785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E330DDC-2CFD-654D-BBDB-0B8B809687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382488" y="2846694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091E2ECB-14CF-AF41-9915-02B1FC15A2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381820" y="3042655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2A02EC41-E5A6-D748-9802-14EBC261DA7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56615" y="4031268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167C6A1-DB76-E441-8F2D-9CE552BC88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7283" y="5481650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8B1E5E1-29C3-8B4A-8629-FC81111A5D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57283" y="5674559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225D098F-9209-CE46-A851-D16E0FFDE28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56615" y="5870520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48C38948-3D31-6241-B2B5-BCA684F0A98A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63595" y="4031268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C2B39111-4206-454E-B242-DCC39DC5262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370575" y="4031268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285ECA7B-1C9A-8648-B813-A7BD9F072C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877555" y="4031268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78F9D1F-3BD3-9745-A8C5-9AF67F6D515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0384538" y="4031268"/>
            <a:ext cx="1431388" cy="1371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Head Shot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E0DA7FE2-EA85-9342-85DB-1822263530C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863928" y="5481650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2672518-E0B4-BE48-AFE2-CD0C775E4B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863928" y="5674559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DD507A70-096F-F149-9C17-A32B06DCEF6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863260" y="5870520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A9B7715B-1EB5-5541-9749-255EAE8163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370114" y="5481650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EE3C9EEC-F939-5440-9052-87438FCA09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370114" y="5674559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D20091C4-DEA9-084D-B82A-F0BFA2B7CCF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369446" y="5870520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8934A69F-58D4-B14B-8E37-3431E776BE5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76301" y="5481650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6421E7E-27A5-864C-8A9F-9FC25879700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876301" y="5674559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862F87F4-AD97-F04C-A229-1E3568C96F7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875633" y="5870520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F97338C-A78B-A641-86F7-EB5BAC651C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382488" y="5481650"/>
            <a:ext cx="1430721" cy="184666"/>
          </a:xfrm>
        </p:spPr>
        <p:txBody>
          <a:bodyPr/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752A2CA5-C150-6145-A1ED-37B8F4C2ECD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0382488" y="5674559"/>
            <a:ext cx="1430721" cy="153888"/>
          </a:xfrm>
        </p:spPr>
        <p:txBody>
          <a:bodyPr/>
          <a:lstStyle>
            <a:lvl1pPr marL="0" indent="0">
              <a:buNone/>
              <a:defRPr sz="1000" b="0" i="0">
                <a:solidFill>
                  <a:schemeClr val="tx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CCB4F58D-A434-0D41-BDEF-2B5A05B3A26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381820" y="5870520"/>
            <a:ext cx="1432181" cy="270843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Lorem Ipsum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C9B1448-11F5-8749-BCB1-59F927226F10}"/>
              </a:ext>
            </a:extLst>
          </p:cNvPr>
          <p:cNvCxnSpPr>
            <a:cxnSpLocks/>
          </p:cNvCxnSpPr>
          <p:nvPr userDrawn="1"/>
        </p:nvCxnSpPr>
        <p:spPr>
          <a:xfrm>
            <a:off x="356615" y="3640667"/>
            <a:ext cx="11478102" cy="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7469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23C5AF75-07C6-BD49-B56A-5F65578E2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1284817"/>
            <a:ext cx="3098018" cy="2154436"/>
          </a:xfrm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Sub-title here maximum lines </a:t>
            </a:r>
            <a:br>
              <a:rPr lang="en-GB"/>
            </a:br>
            <a:r>
              <a:rPr lang="en-GB"/>
              <a:t>to the bottom </a:t>
            </a:r>
            <a:br>
              <a:rPr lang="en-GB"/>
            </a:br>
            <a:r>
              <a:rPr lang="en-GB"/>
              <a:t>of this text </a:t>
            </a:r>
            <a:br>
              <a:rPr lang="en-GB"/>
            </a:br>
            <a:r>
              <a:rPr lang="en-GB"/>
              <a:t>box at 28pt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AD1767B6-8025-5C4D-A5B7-EDDEF1E56BC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101865" y="1284817"/>
            <a:ext cx="1469111" cy="1469908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C581D9B2-5A56-AE43-B960-B7CA363E12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34936" y="1774301"/>
            <a:ext cx="2382023" cy="490940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3 lines at 16pt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0B9463BD-A9A4-8B41-9248-235C98691B7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101865" y="3012017"/>
            <a:ext cx="1469111" cy="1469908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E91A0BCA-458F-294F-AF6C-48029F191D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734936" y="3501501"/>
            <a:ext cx="2382023" cy="490940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3 lines at 16pt</a:t>
            </a:r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41564A16-20A6-ED41-9ABA-156A5D8F1A7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101865" y="4722284"/>
            <a:ext cx="1469111" cy="1469908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492CC467-938D-8149-8DB5-0754566AF6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34936" y="5211768"/>
            <a:ext cx="2382023" cy="490940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3 lines at 16pt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904122F7-043C-BB47-A713-7D96B05D9F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69578" y="1774301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3D5C0AA8-4A41-854F-89D6-06701C5010B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69578" y="3501501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230358DC-CFFA-B840-9755-E7DF941EC3A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69578" y="5211768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952644C-4DBB-9D44-9214-22A8190FB1A3}"/>
              </a:ext>
            </a:extLst>
          </p:cNvPr>
          <p:cNvSpPr/>
          <p:nvPr userDrawn="1"/>
        </p:nvSpPr>
        <p:spPr>
          <a:xfrm>
            <a:off x="4286754" y="1757573"/>
            <a:ext cx="1117859" cy="51935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2BF2EE1-5AB4-2248-8D1E-1DED27D43FAA}"/>
              </a:ext>
            </a:extLst>
          </p:cNvPr>
          <p:cNvSpPr/>
          <p:nvPr userDrawn="1"/>
        </p:nvSpPr>
        <p:spPr>
          <a:xfrm>
            <a:off x="4286754" y="3479902"/>
            <a:ext cx="1117859" cy="51935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BBDDC7B-3E26-9C40-9E18-BF5651E160DE}"/>
              </a:ext>
            </a:extLst>
          </p:cNvPr>
          <p:cNvSpPr/>
          <p:nvPr userDrawn="1"/>
        </p:nvSpPr>
        <p:spPr>
          <a:xfrm>
            <a:off x="4286754" y="5202230"/>
            <a:ext cx="1117859" cy="519351"/>
          </a:xfrm>
          <a:prstGeom prst="ellipse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1AA2C25-5C33-5F45-8180-A6D51E54C561}"/>
              </a:ext>
            </a:extLst>
          </p:cNvPr>
          <p:cNvSpPr/>
          <p:nvPr userDrawn="1"/>
        </p:nvSpPr>
        <p:spPr>
          <a:xfrm>
            <a:off x="4193975" y="1758711"/>
            <a:ext cx="1303844" cy="519351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B25048-367C-994F-BDF9-12C3B44BC289}"/>
              </a:ext>
            </a:extLst>
          </p:cNvPr>
          <p:cNvSpPr/>
          <p:nvPr userDrawn="1"/>
        </p:nvSpPr>
        <p:spPr>
          <a:xfrm>
            <a:off x="4193975" y="3479022"/>
            <a:ext cx="1303844" cy="519351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8CAA53-6652-7945-BDED-58FEE244DFAB}"/>
              </a:ext>
            </a:extLst>
          </p:cNvPr>
          <p:cNvSpPr/>
          <p:nvPr userDrawn="1"/>
        </p:nvSpPr>
        <p:spPr>
          <a:xfrm>
            <a:off x="4193975" y="5199334"/>
            <a:ext cx="1303844" cy="519351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9462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7F400B3-87B0-4019-80D2-78F7693CF461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359309" y="1208123"/>
            <a:ext cx="4795861" cy="29499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cap="none">
                <a:latin typeface="Graphik Medium" panose="020B0603030202060203" pitchFamily="34" charset="0"/>
              </a:defRPr>
            </a:lvl1pPr>
          </a:lstStyle>
          <a:p>
            <a:r>
              <a:rPr lang="en-US" sz="6599">
                <a:solidFill>
                  <a:schemeClr val="tx1"/>
                </a:solidFill>
              </a:rPr>
              <a:t>Sentence case max 70pt min 50 max 5 lin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34A80B-D84D-46A4-A422-F52A2F3936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29948" y="2048152"/>
            <a:ext cx="6084457" cy="480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3808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2913C7D9-4483-A74A-80E0-56DD266EA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0" y="0"/>
            <a:ext cx="4842201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A6FDAF57-2FDA-3C4E-ABDD-8C80700A206A}"/>
              </a:ext>
            </a:extLst>
          </p:cNvPr>
          <p:cNvSpPr/>
          <p:nvPr userDrawn="1"/>
        </p:nvSpPr>
        <p:spPr>
          <a:xfrm>
            <a:off x="4350326" y="1992498"/>
            <a:ext cx="983749" cy="519351"/>
          </a:xfrm>
          <a:prstGeom prst="ellipse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7511ADD-753F-844D-9306-6B3E81126951}"/>
              </a:ext>
            </a:extLst>
          </p:cNvPr>
          <p:cNvSpPr/>
          <p:nvPr userDrawn="1"/>
        </p:nvSpPr>
        <p:spPr>
          <a:xfrm>
            <a:off x="4350326" y="3190820"/>
            <a:ext cx="983749" cy="519351"/>
          </a:xfrm>
          <a:prstGeom prst="ellipse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B18868-3128-6D47-BA18-0E9421592273}"/>
              </a:ext>
            </a:extLst>
          </p:cNvPr>
          <p:cNvSpPr/>
          <p:nvPr userDrawn="1"/>
        </p:nvSpPr>
        <p:spPr>
          <a:xfrm>
            <a:off x="4350326" y="4389142"/>
            <a:ext cx="983749" cy="519351"/>
          </a:xfrm>
          <a:prstGeom prst="ellipse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87C364-A760-074F-A3F3-3D2DF95567C8}"/>
              </a:ext>
            </a:extLst>
          </p:cNvPr>
          <p:cNvSpPr/>
          <p:nvPr userDrawn="1"/>
        </p:nvSpPr>
        <p:spPr>
          <a:xfrm>
            <a:off x="4350326" y="5587465"/>
            <a:ext cx="983749" cy="519351"/>
          </a:xfrm>
          <a:prstGeom prst="ellipse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539A554-D7C0-E240-80F6-40AF4222E1D3}"/>
              </a:ext>
            </a:extLst>
          </p:cNvPr>
          <p:cNvSpPr/>
          <p:nvPr userDrawn="1"/>
        </p:nvSpPr>
        <p:spPr>
          <a:xfrm>
            <a:off x="4447473" y="1992276"/>
            <a:ext cx="795588" cy="51935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A6AFD5A-DF2C-4B40-AB3E-686EE67D9248}"/>
              </a:ext>
            </a:extLst>
          </p:cNvPr>
          <p:cNvSpPr/>
          <p:nvPr userDrawn="1"/>
        </p:nvSpPr>
        <p:spPr>
          <a:xfrm>
            <a:off x="4447473" y="3184469"/>
            <a:ext cx="795588" cy="51935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2B2930-4842-CE4D-823D-83A8B06EA272}"/>
              </a:ext>
            </a:extLst>
          </p:cNvPr>
          <p:cNvSpPr/>
          <p:nvPr userDrawn="1"/>
        </p:nvSpPr>
        <p:spPr>
          <a:xfrm>
            <a:off x="4447473" y="4386423"/>
            <a:ext cx="795588" cy="51935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CAD16C3-F992-524E-A8A6-128B2DDBA4E4}"/>
              </a:ext>
            </a:extLst>
          </p:cNvPr>
          <p:cNvSpPr/>
          <p:nvPr userDrawn="1"/>
        </p:nvSpPr>
        <p:spPr>
          <a:xfrm>
            <a:off x="4447473" y="5589845"/>
            <a:ext cx="795588" cy="51935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5" y="384919"/>
            <a:ext cx="4144839" cy="797782"/>
          </a:xfrm>
        </p:spPr>
        <p:txBody>
          <a:bodyPr/>
          <a:lstStyle>
            <a:lvl1pPr>
              <a:defRPr b="0" i="0">
                <a:solidFill>
                  <a:srgbClr val="FFFFFF"/>
                </a:solidFill>
              </a:defRPr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23C5AF75-07C6-BD49-B56A-5F65578E2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282" y="1760427"/>
            <a:ext cx="3098018" cy="1015663"/>
          </a:xfrm>
        </p:spPr>
        <p:txBody>
          <a:bodyPr/>
          <a:lstStyle>
            <a:lvl1pPr marL="0" indent="0">
              <a:buNone/>
              <a:defRPr sz="2200" b="0" i="0">
                <a:solidFill>
                  <a:srgbClr val="FFFFFF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Sub-title here 6 maximum lines </a:t>
            </a:r>
            <a:br>
              <a:rPr lang="en-GB"/>
            </a:br>
            <a:r>
              <a:rPr lang="en-GB"/>
              <a:t>at 22pt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AD1767B6-8025-5C4D-A5B7-EDDEF1E56BC3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4447474" y="1860490"/>
            <a:ext cx="782939" cy="783364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C581D9B2-5A56-AE43-B960-B7CA363E1243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734936" y="1988425"/>
            <a:ext cx="2382023" cy="490940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904122F7-043C-BB47-A713-7D96B05D9F84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8369578" y="1988425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3CB3A3A-B8ED-874A-8B14-FA7971486B00}"/>
              </a:ext>
            </a:extLst>
          </p:cNvPr>
          <p:cNvSpPr>
            <a:spLocks noGrp="1"/>
          </p:cNvSpPr>
          <p:nvPr userDrawn="1">
            <p:ph type="pic" sz="quarter" idx="30" hasCustomPrompt="1"/>
          </p:nvPr>
        </p:nvSpPr>
        <p:spPr>
          <a:xfrm>
            <a:off x="4447474" y="3053186"/>
            <a:ext cx="782939" cy="783364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05797BD3-65C6-9049-840E-7C077C5D5D2C}"/>
              </a:ext>
            </a:extLst>
          </p:cNvPr>
          <p:cNvSpPr>
            <a:spLocks noGrp="1"/>
          </p:cNvSpPr>
          <p:nvPr userDrawn="1">
            <p:ph type="pic" sz="quarter" idx="31" hasCustomPrompt="1"/>
          </p:nvPr>
        </p:nvSpPr>
        <p:spPr>
          <a:xfrm>
            <a:off x="4447474" y="4245881"/>
            <a:ext cx="782939" cy="783364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23C2A458-4A26-BC42-8A97-CBCEF9930FCA}"/>
              </a:ext>
            </a:extLst>
          </p:cNvPr>
          <p:cNvSpPr>
            <a:spLocks noGrp="1"/>
          </p:cNvSpPr>
          <p:nvPr userDrawn="1">
            <p:ph type="pic" sz="quarter" idx="32" hasCustomPrompt="1"/>
          </p:nvPr>
        </p:nvSpPr>
        <p:spPr>
          <a:xfrm>
            <a:off x="4447474" y="5451829"/>
            <a:ext cx="782939" cy="783364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7DAFBA1-951C-1046-B466-3EF5E41FA7F6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734936" y="3207625"/>
            <a:ext cx="2382023" cy="490940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CF9030C-03D7-184A-94AB-79FBBFD21B1F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8369578" y="3207625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B5030F3-E633-8242-AEDA-46633D0E0F9B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5734936" y="4400321"/>
            <a:ext cx="2382023" cy="490940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6C218D39-7085-2041-88DC-ADD33CB9D07F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369578" y="4400321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EF3EEE0-F92E-174F-B4BE-D15E9F07E6A7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734936" y="5632773"/>
            <a:ext cx="2382023" cy="490940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A56D5BBA-7ADB-EF41-B92D-EA195C57B77D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369578" y="5632773"/>
            <a:ext cx="3446346" cy="553998"/>
          </a:xfrm>
        </p:spPr>
        <p:txBody>
          <a:bodyPr/>
          <a:lstStyle>
            <a:lvl1pPr marL="0" marR="0" indent="0" algn="l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6893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0D89EB26-6C55-C24A-A2BB-00A2CD5E4610}"/>
              </a:ext>
            </a:extLst>
          </p:cNvPr>
          <p:cNvSpPr/>
          <p:nvPr userDrawn="1"/>
        </p:nvSpPr>
        <p:spPr>
          <a:xfrm>
            <a:off x="1866356" y="2106665"/>
            <a:ext cx="8713783" cy="1693039"/>
          </a:xfrm>
          <a:custGeom>
            <a:avLst/>
            <a:gdLst>
              <a:gd name="connsiteX0" fmla="*/ 0 w 8711514"/>
              <a:gd name="connsiteY0" fmla="*/ 1693039 h 1693039"/>
              <a:gd name="connsiteX1" fmla="*/ 2150076 w 8711514"/>
              <a:gd name="connsiteY1" fmla="*/ 1211125 h 1693039"/>
              <a:gd name="connsiteX2" fmla="*/ 4263081 w 8711514"/>
              <a:gd name="connsiteY2" fmla="*/ 163 h 1693039"/>
              <a:gd name="connsiteX3" fmla="*/ 6487298 w 8711514"/>
              <a:gd name="connsiteY3" fmla="*/ 1297622 h 1693039"/>
              <a:gd name="connsiteX4" fmla="*/ 8711514 w 8711514"/>
              <a:gd name="connsiteY4" fmla="*/ 766282 h 1693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1514" h="1693039">
                <a:moveTo>
                  <a:pt x="0" y="1693039"/>
                </a:moveTo>
                <a:cubicBezTo>
                  <a:pt x="719781" y="1593155"/>
                  <a:pt x="1439563" y="1493271"/>
                  <a:pt x="2150076" y="1211125"/>
                </a:cubicBezTo>
                <a:cubicBezTo>
                  <a:pt x="2860590" y="928979"/>
                  <a:pt x="3540211" y="-14253"/>
                  <a:pt x="4263081" y="163"/>
                </a:cubicBezTo>
                <a:cubicBezTo>
                  <a:pt x="4985951" y="14579"/>
                  <a:pt x="5745893" y="1169936"/>
                  <a:pt x="6487298" y="1297622"/>
                </a:cubicBezTo>
                <a:cubicBezTo>
                  <a:pt x="7228703" y="1425308"/>
                  <a:pt x="7970108" y="1095795"/>
                  <a:pt x="8711514" y="766282"/>
                </a:cubicBezTo>
              </a:path>
            </a:pathLst>
          </a:custGeom>
          <a:noFill/>
          <a:ln w="12700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/>
              <a:t>Insert Main Title 36 max, minimum 30pt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E91A0BCA-458F-294F-AF6C-48029F191D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3611" y="4555671"/>
            <a:ext cx="2011645" cy="490940"/>
          </a:xfrm>
        </p:spPr>
        <p:txBody>
          <a:bodyPr/>
          <a:lstStyle>
            <a:lvl1pPr marL="0" indent="0" algn="ctr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3D5C0AA8-4A41-854F-89D6-06701C5010B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3611" y="5154485"/>
            <a:ext cx="2011645" cy="677108"/>
          </a:xfrm>
        </p:spPr>
        <p:txBody>
          <a:bodyPr/>
          <a:lstStyle>
            <a:lvl1pPr marL="0" marR="0" indent="0" algn="ctr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03B385-790B-0E46-AA95-584E6AA5F3CF}"/>
              </a:ext>
            </a:extLst>
          </p:cNvPr>
          <p:cNvSpPr/>
          <p:nvPr userDrawn="1"/>
        </p:nvSpPr>
        <p:spPr>
          <a:xfrm>
            <a:off x="827529" y="3485010"/>
            <a:ext cx="1371957" cy="519351"/>
          </a:xfrm>
          <a:prstGeom prst="ellipse">
            <a:avLst/>
          </a:prstGeom>
          <a:gradFill>
            <a:gsLst>
              <a:gs pos="89000">
                <a:schemeClr val="accent3"/>
              </a:gs>
              <a:gs pos="18000">
                <a:schemeClr val="accent1"/>
              </a:gs>
            </a:gsLst>
            <a:lin ang="180000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42AE0EE-FD5C-6B4D-8000-3398039A90B5}"/>
              </a:ext>
            </a:extLst>
          </p:cNvPr>
          <p:cNvSpPr/>
          <p:nvPr userDrawn="1"/>
        </p:nvSpPr>
        <p:spPr>
          <a:xfrm>
            <a:off x="3155875" y="2940724"/>
            <a:ext cx="1371957" cy="519351"/>
          </a:xfrm>
          <a:prstGeom prst="ellipse">
            <a:avLst/>
          </a:prstGeom>
          <a:gradFill>
            <a:gsLst>
              <a:gs pos="89000">
                <a:schemeClr val="accent3"/>
              </a:gs>
              <a:gs pos="18000">
                <a:schemeClr val="accent1"/>
              </a:gs>
            </a:gsLst>
            <a:lin ang="180000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7F9C0E8-C7DF-A54B-90FB-6A4DA66D74B3}"/>
              </a:ext>
            </a:extLst>
          </p:cNvPr>
          <p:cNvSpPr/>
          <p:nvPr userDrawn="1"/>
        </p:nvSpPr>
        <p:spPr>
          <a:xfrm>
            <a:off x="5484221" y="1852153"/>
            <a:ext cx="1371957" cy="519351"/>
          </a:xfrm>
          <a:prstGeom prst="ellipse">
            <a:avLst/>
          </a:prstGeom>
          <a:gradFill>
            <a:gsLst>
              <a:gs pos="89000">
                <a:schemeClr val="accent3"/>
              </a:gs>
              <a:gs pos="18000">
                <a:schemeClr val="accent1"/>
              </a:gs>
            </a:gsLst>
            <a:lin ang="180000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DC882B2-EB41-6B4A-A8EE-17D60FC26085}"/>
              </a:ext>
            </a:extLst>
          </p:cNvPr>
          <p:cNvSpPr/>
          <p:nvPr userDrawn="1"/>
        </p:nvSpPr>
        <p:spPr>
          <a:xfrm>
            <a:off x="7812568" y="3158438"/>
            <a:ext cx="1371957" cy="519351"/>
          </a:xfrm>
          <a:prstGeom prst="ellipse">
            <a:avLst/>
          </a:prstGeom>
          <a:gradFill>
            <a:gsLst>
              <a:gs pos="89000">
                <a:schemeClr val="accent3"/>
              </a:gs>
              <a:gs pos="18000">
                <a:schemeClr val="accent1"/>
              </a:gs>
            </a:gsLst>
            <a:lin ang="180000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FD2CDC-F46F-7B46-AFD2-6F7BBC028C45}"/>
              </a:ext>
            </a:extLst>
          </p:cNvPr>
          <p:cNvSpPr/>
          <p:nvPr userDrawn="1"/>
        </p:nvSpPr>
        <p:spPr>
          <a:xfrm>
            <a:off x="10140913" y="2483524"/>
            <a:ext cx="1371957" cy="519351"/>
          </a:xfrm>
          <a:prstGeom prst="ellipse">
            <a:avLst/>
          </a:prstGeom>
          <a:gradFill>
            <a:gsLst>
              <a:gs pos="89000">
                <a:schemeClr val="accent3"/>
              </a:gs>
              <a:gs pos="18000">
                <a:schemeClr val="accent1"/>
              </a:gs>
            </a:gsLst>
            <a:lin ang="180000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endParaRPr lang="en-GB">
              <a:solidFill>
                <a:schemeClr val="tx1"/>
              </a:solidFill>
              <a:latin typeface="Graphik Light" panose="020B0403030202060203" pitchFamily="34" charset="77"/>
            </a:endParaRP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AD1767B6-8025-5C4D-A5B7-EDDEF1E56BC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1568" y="3200400"/>
            <a:ext cx="1071041" cy="1071622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4D1E65C-2047-E44A-846A-67D5B71BE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03840" y="2662136"/>
            <a:ext cx="1071041" cy="1071622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76FAB0C9-16A8-8E42-A56A-9E64384076F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639086" y="1572638"/>
            <a:ext cx="1071041" cy="1071622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B62F7C1B-0937-3647-AD94-329F277A76B1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967846" y="2889114"/>
            <a:ext cx="1071041" cy="1071622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50163F3D-0038-AE44-931D-607AC57C0846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90119" y="2214663"/>
            <a:ext cx="1071041" cy="1071622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Ico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890E6A1-02C2-3F41-B843-EA742A7D12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839204" y="4033158"/>
            <a:ext cx="2011645" cy="490940"/>
          </a:xfrm>
        </p:spPr>
        <p:txBody>
          <a:bodyPr/>
          <a:lstStyle>
            <a:lvl1pPr marL="0" indent="0" algn="ctr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E73BCE97-9194-854D-8AE6-5D70EF59D14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839204" y="4631972"/>
            <a:ext cx="2011645" cy="677108"/>
          </a:xfrm>
        </p:spPr>
        <p:txBody>
          <a:bodyPr/>
          <a:lstStyle>
            <a:lvl1pPr marL="0" marR="0" indent="0" algn="ctr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6A2E9A5-333E-F447-AB44-4657F9DACA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74798" y="2955474"/>
            <a:ext cx="2011645" cy="490940"/>
          </a:xfrm>
        </p:spPr>
        <p:txBody>
          <a:bodyPr/>
          <a:lstStyle>
            <a:lvl1pPr marL="0" indent="0" algn="ctr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E87DAF4-B1E4-3941-B3DD-539E6B9D3FD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74798" y="3554288"/>
            <a:ext cx="2011645" cy="677108"/>
          </a:xfrm>
        </p:spPr>
        <p:txBody>
          <a:bodyPr/>
          <a:lstStyle>
            <a:lvl1pPr marL="0" marR="0" indent="0" algn="ctr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9B20C48-27F9-6542-8294-4E8D950FE3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94058" y="4261758"/>
            <a:ext cx="2011645" cy="490940"/>
          </a:xfrm>
        </p:spPr>
        <p:txBody>
          <a:bodyPr/>
          <a:lstStyle>
            <a:lvl1pPr marL="0" indent="0" algn="ctr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391F3965-69BC-4D4F-A3B5-7A1B66670B7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94058" y="4860572"/>
            <a:ext cx="2011645" cy="677108"/>
          </a:xfrm>
        </p:spPr>
        <p:txBody>
          <a:bodyPr/>
          <a:lstStyle>
            <a:lvl1pPr marL="0" marR="0" indent="0" algn="ctr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4EAFEF4-2AF3-DA48-8C81-8E2EDCA00D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845986" y="3575958"/>
            <a:ext cx="2011645" cy="490940"/>
          </a:xfrm>
        </p:spPr>
        <p:txBody>
          <a:bodyPr/>
          <a:lstStyle>
            <a:lvl1pPr marL="0" indent="0" algn="ctr">
              <a:buNone/>
              <a:defRPr sz="1600" b="0" i="0">
                <a:solidFill>
                  <a:schemeClr val="accent1"/>
                </a:solidFill>
                <a:latin typeface="+mj-lt"/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GB"/>
              <a:t>Heading max </a:t>
            </a:r>
            <a:br>
              <a:rPr lang="en-GB"/>
            </a:br>
            <a:r>
              <a:rPr lang="en-GB"/>
              <a:t>2 lines at 16pt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92FFC157-D0A0-BC47-9C8D-DDD2E140581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845986" y="4174772"/>
            <a:ext cx="2011645" cy="677108"/>
          </a:xfrm>
        </p:spPr>
        <p:txBody>
          <a:bodyPr/>
          <a:lstStyle>
            <a:lvl1pPr marL="0" marR="0" indent="0" algn="ctr" defTabSz="6094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/>
            </a:lvl1pPr>
            <a:lvl2pPr marL="609494" indent="0">
              <a:buNone/>
              <a:defRPr sz="1200"/>
            </a:lvl2pPr>
            <a:lvl3pPr marL="1218986" indent="0">
              <a:buNone/>
              <a:defRPr sz="12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975046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6643" y="1517905"/>
            <a:ext cx="5358578" cy="2180277"/>
          </a:xfrm>
        </p:spPr>
        <p:txBody>
          <a:bodyPr/>
          <a:lstStyle>
            <a:lvl1pPr>
              <a:defRPr sz="4400" b="0" i="0"/>
            </a:lvl1pPr>
          </a:lstStyle>
          <a:p>
            <a:r>
              <a:rPr lang="en-GB"/>
              <a:t>“This is a brief but impactful quote that</a:t>
            </a:r>
            <a:br>
              <a:rPr lang="en-GB"/>
            </a:br>
            <a:r>
              <a:rPr lang="en-GB"/>
              <a:t>can also include colour to make your point”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97BA95-80EE-3B43-887D-8D0E7989723F}"/>
              </a:ext>
            </a:extLst>
          </p:cNvPr>
          <p:cNvCxnSpPr/>
          <p:nvPr userDrawn="1"/>
        </p:nvCxnSpPr>
        <p:spPr>
          <a:xfrm>
            <a:off x="3984176" y="1489768"/>
            <a:ext cx="0" cy="438912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FB8F817-5CD3-E64F-9420-0279D3E1B6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6642" y="5104165"/>
            <a:ext cx="5358572" cy="307777"/>
          </a:xfrm>
        </p:spPr>
        <p:txBody>
          <a:bodyPr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Quote attribu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82B365-EB28-5E48-9F87-FDAD5ADFAE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580" y="1517904"/>
            <a:ext cx="3166300" cy="355738"/>
          </a:xfrm>
        </p:spPr>
        <p:txBody>
          <a:bodyPr/>
          <a:lstStyle>
            <a:lvl1pPr marL="0" indent="0">
              <a:lnSpc>
                <a:spcPct val="70000"/>
              </a:lnSpc>
              <a:buNone/>
              <a:defRPr b="0" i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/>
              <a:t>This content can tee up a quote or provide context</a:t>
            </a:r>
          </a:p>
        </p:txBody>
      </p:sp>
    </p:spTree>
    <p:extLst>
      <p:ext uri="{BB962C8B-B14F-4D97-AF65-F5344CB8AC3E}">
        <p14:creationId xmlns:p14="http://schemas.microsoft.com/office/powerpoint/2010/main" val="28422719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2559556"/>
            <a:ext cx="4952999" cy="1346202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pic>
        <p:nvPicPr>
          <p:cNvPr id="5" name="Picture Placeholder 19">
            <a:extLst>
              <a:ext uri="{FF2B5EF4-FFF2-40B4-BE49-F238E27FC236}">
                <a16:creationId xmlns:a16="http://schemas.microsoft.com/office/drawing/2014/main" id="{00D1E909-56A2-5044-8848-67B6A40E40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8669" y="943234"/>
            <a:ext cx="4192092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D941A54-9115-4A48-BCFE-DA59E81132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3001" y="1517905"/>
            <a:ext cx="3166300" cy="183384"/>
          </a:xfrm>
        </p:spPr>
        <p:txBody>
          <a:bodyPr/>
          <a:lstStyle>
            <a:lvl1pPr marL="0" indent="0">
              <a:lnSpc>
                <a:spcPct val="70000"/>
              </a:lnSpc>
              <a:buNone/>
              <a:defRPr b="0" i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/>
              <a:t>Human element/quo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122A7C-ECDD-4DDD-99D2-526F39659B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28669" y="940360"/>
            <a:ext cx="4024408" cy="478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4357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Heading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7A0E62C-437E-DD42-9B00-03ED7F5E9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6643" y="1517905"/>
            <a:ext cx="5358578" cy="2180277"/>
          </a:xfrm>
        </p:spPr>
        <p:txBody>
          <a:bodyPr/>
          <a:lstStyle>
            <a:lvl1pPr>
              <a:defRPr sz="44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“This is a brief but impactful quote that</a:t>
            </a:r>
            <a:br>
              <a:rPr lang="en-GB"/>
            </a:br>
            <a:r>
              <a:rPr lang="en-GB"/>
              <a:t>can also include colour to make your point”</a:t>
            </a: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8F60B1-199B-B045-9B54-333D10458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97BA95-80EE-3B43-887D-8D0E7989723F}"/>
              </a:ext>
            </a:extLst>
          </p:cNvPr>
          <p:cNvCxnSpPr/>
          <p:nvPr userDrawn="1"/>
        </p:nvCxnSpPr>
        <p:spPr>
          <a:xfrm>
            <a:off x="3984176" y="1489768"/>
            <a:ext cx="0" cy="438912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FB8F817-5CD3-E64F-9420-0279D3E1B6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46642" y="5104165"/>
            <a:ext cx="5358572" cy="307777"/>
          </a:xfrm>
        </p:spPr>
        <p:txBody>
          <a:bodyPr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Quote attribu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82B365-EB28-5E48-9F87-FDAD5ADFAE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580" y="1517904"/>
            <a:ext cx="3166300" cy="355738"/>
          </a:xfrm>
        </p:spPr>
        <p:txBody>
          <a:bodyPr/>
          <a:lstStyle>
            <a:lvl1pPr marL="0" indent="0">
              <a:lnSpc>
                <a:spcPct val="70000"/>
              </a:lnSpc>
              <a:buNone/>
              <a:defRPr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This content can tee up a quote or provide context</a:t>
            </a:r>
          </a:p>
        </p:txBody>
      </p:sp>
    </p:spTree>
    <p:extLst>
      <p:ext uri="{BB962C8B-B14F-4D97-AF65-F5344CB8AC3E}">
        <p14:creationId xmlns:p14="http://schemas.microsoft.com/office/powerpoint/2010/main" val="33089821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82BB6BB-0C5D-A543-9769-01E53E4B28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92805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855818F-66B6-2A47-A564-C54797372C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146" y="4610100"/>
            <a:ext cx="495429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15C18E29-E90F-D149-845E-B428A858AD2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1635" y="381001"/>
            <a:ext cx="4954290" cy="5703315"/>
          </a:xfrm>
          <a:noFill/>
        </p:spPr>
        <p:txBody>
          <a:bodyPr tIns="274320" bIns="274320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27F011E-6EBB-DC4E-88B4-02148403C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5148" y="381000"/>
            <a:ext cx="4954289" cy="391509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2166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38CE10-E431-CF48-972D-F705F9907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6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855818F-66B6-2A47-A564-C54797372C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146" y="4610100"/>
            <a:ext cx="495429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15C18E29-E90F-D149-845E-B428A858AD2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1635" y="381001"/>
            <a:ext cx="4954290" cy="5703315"/>
          </a:xfrm>
          <a:noFill/>
        </p:spPr>
        <p:txBody>
          <a:bodyPr tIns="274320" bIns="274320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27F011E-6EBB-DC4E-88B4-02148403C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5148" y="381000"/>
            <a:ext cx="4954289" cy="391509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7550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76413EE-F19F-0741-821A-448E1218CF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6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855818F-66B6-2A47-A564-C54797372C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146" y="4610100"/>
            <a:ext cx="4954290" cy="147421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15C18E29-E90F-D149-845E-B428A858AD2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1635" y="381001"/>
            <a:ext cx="4954290" cy="5703315"/>
          </a:xfrm>
          <a:noFill/>
        </p:spPr>
        <p:txBody>
          <a:bodyPr tIns="274320" bIns="274320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27F011E-6EBB-DC4E-88B4-02148403C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5148" y="381000"/>
            <a:ext cx="4954289" cy="391509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0500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7392907-87B0-4ADA-9EF8-9A6EEA7A23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3429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CA5C77B-49AE-F24F-829F-DB5C07C9F73B}"/>
              </a:ext>
            </a:extLst>
          </p:cNvPr>
          <p:cNvSpPr/>
          <p:nvPr userDrawn="1"/>
        </p:nvSpPr>
        <p:spPr>
          <a:xfrm>
            <a:off x="0" y="3429000"/>
            <a:ext cx="12195176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02DD5D5-B6DB-2441-BF23-EA6C9BEE34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7526" y="3889828"/>
            <a:ext cx="2994353" cy="219448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05729CE-E156-2347-BFEF-FFA698483E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298" y="3889829"/>
            <a:ext cx="6188325" cy="2194485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6415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96E5A15-409A-4020-B14E-BE2E1F51D5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4" y="1"/>
            <a:ext cx="12189225" cy="3428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CA5C77B-49AE-F24F-829F-DB5C07C9F73B}"/>
              </a:ext>
            </a:extLst>
          </p:cNvPr>
          <p:cNvSpPr/>
          <p:nvPr userDrawn="1"/>
        </p:nvSpPr>
        <p:spPr>
          <a:xfrm>
            <a:off x="0" y="3429000"/>
            <a:ext cx="12195176" cy="3429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02DD5D5-B6DB-2441-BF23-EA6C9BEE34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7526" y="3889828"/>
            <a:ext cx="2994353" cy="219448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05729CE-E156-2347-BFEF-FFA698483E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298" y="3889829"/>
            <a:ext cx="6188325" cy="2194485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EBAEEAC-D38C-8C40-AEBA-9890AE05C2E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299" y="835806"/>
            <a:ext cx="6188324" cy="2194487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0" i="0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609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lothing, underwear, umbrella&#10;&#10;Description automatically generated">
            <a:extLst>
              <a:ext uri="{FF2B5EF4-FFF2-40B4-BE49-F238E27FC236}">
                <a16:creationId xmlns:a16="http://schemas.microsoft.com/office/drawing/2014/main" id="{E1C157F4-16B3-4975-85F7-88675AD91E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317501"/>
            <a:ext cx="12172951" cy="6540500"/>
          </a:xfrm>
          <a:prstGeom prst="rect">
            <a:avLst/>
          </a:prstGeom>
        </p:spPr>
      </p:pic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457946"/>
            <a:ext cx="7010399" cy="3971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0" cap="none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35298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86E7F5D-828D-43CD-A33C-90B2B6350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6" y="-2"/>
            <a:ext cx="12195176" cy="3429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CD39B6B-E29C-FA4C-9CFE-DCCA2C9FB3E8}"/>
              </a:ext>
            </a:extLst>
          </p:cNvPr>
          <p:cNvSpPr/>
          <p:nvPr userDrawn="1"/>
        </p:nvSpPr>
        <p:spPr>
          <a:xfrm>
            <a:off x="0" y="3429000"/>
            <a:ext cx="12195176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89F5CA4-C866-324B-8FC2-B70027D475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7526" y="3889828"/>
            <a:ext cx="2994353" cy="219448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854CFB9-7139-054C-92CA-41B01B1E5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298" y="3889829"/>
            <a:ext cx="6188325" cy="2194485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1DECAD0-66B8-CE43-A14B-D4FA967B007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299" y="835806"/>
            <a:ext cx="6188324" cy="2194487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0" i="0" kern="1200" dirty="0">
                <a:ln w="38100">
                  <a:solidFill>
                    <a:schemeClr val="bg1"/>
                  </a:solidFill>
                </a:ln>
                <a:noFill/>
                <a:latin typeface="Graphik Bold" panose="020B0503030202060203" pitchFamily="34" charset="77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083894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38069A-9D76-4558-9230-6ED881337E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876" y="1"/>
            <a:ext cx="12240876" cy="3428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085480-B940-AF41-9B42-CF3292AC2F96}"/>
              </a:ext>
            </a:extLst>
          </p:cNvPr>
          <p:cNvSpPr/>
          <p:nvPr userDrawn="1"/>
        </p:nvSpPr>
        <p:spPr>
          <a:xfrm>
            <a:off x="-48875" y="3429000"/>
            <a:ext cx="12244052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bg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634BB5-3E5D-F441-946D-5D72BBB86E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A1120B-4B97-3C4E-B493-1CE8D1975B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7526" y="3889828"/>
            <a:ext cx="2994353" cy="219448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GT Sectra Fine Rg" panose="00000500000000000000" pitchFamily="2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GT Sectra Fine 24pt</a:t>
            </a:r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F87AB9C-6339-734E-938B-7A5641D3E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298" y="3889829"/>
            <a:ext cx="6188325" cy="2194485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E394669-01B8-B440-899F-ABA44637706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299" y="835806"/>
            <a:ext cx="6188324" cy="2194487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0" kern="1200" dirty="0">
                <a:ln w="38100">
                  <a:solidFill>
                    <a:schemeClr val="bg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366969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 Grad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F552D74-ECF7-4EC6-9E76-F853E510CCC7}"/>
              </a:ext>
            </a:extLst>
          </p:cNvPr>
          <p:cNvSpPr/>
          <p:nvPr userDrawn="1"/>
        </p:nvSpPr>
        <p:spPr>
          <a:xfrm>
            <a:off x="-22280" y="3196396"/>
            <a:ext cx="12217457" cy="36616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81B257-E716-4A67-89F3-117E0C213A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81" y="-106680"/>
            <a:ext cx="12214281" cy="331700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1"/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6FC2A7A-3397-2148-859D-E77BCEF4BD29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299" y="655777"/>
            <a:ext cx="6188324" cy="2554545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0" kern="1200" dirty="0">
                <a:ln w="38100">
                  <a:solidFill>
                    <a:schemeClr val="accent2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A33B2EF-097D-4B44-B8D9-5CC279577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298" y="3889829"/>
            <a:ext cx="6188325" cy="2194485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F3CCF1E-E6DA-4002-8FEB-B1A6333FED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68" y="6482516"/>
            <a:ext cx="191137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9463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831AE-AF08-D645-BD2B-2A2981D8F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662B7A-76E3-B442-BEF8-00AA61AEBA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76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71B4C48-7579-8E4D-921B-07ACCF5C9F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4004" y="0"/>
            <a:ext cx="7190072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4C3DEF8-F7DA-0F4C-9D64-27B2532DA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99" y="2974742"/>
            <a:ext cx="7042587" cy="908518"/>
          </a:xfrm>
        </p:spPr>
        <p:txBody>
          <a:bodyPr anchor="ctr"/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1846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11430000" cy="454292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2E1A2C-3283-CA40-A9B8-3BE8A3A9166A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383981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7EFFAB0-5F5A-8B45-81A1-07C89CBE48EB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2021982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F191A549-CC0F-5F47-8399-810551502BB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659981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8BC4ACCA-1F22-3746-BF27-FDB04238F475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300765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D9E5800-1BD1-B140-B525-75EA3CA76A9C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942331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51FE3C2-BDB7-7440-8015-FC351CD73746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586681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922A04F-E7B2-EB4F-AE28-07CA16CEB6B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0227857" y="138853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A147140-A9DE-D541-883C-C7852B0EFC38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383981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319092BA-A557-DA4D-9044-D05CD6F8C5CA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021982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7628725-B7EF-2049-A384-D40EE445AF0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659981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67C11FED-32DD-A64F-ACBA-A0CFF396B04B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00765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69D6BF7-651F-BF40-99F8-DA4953188D66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942331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D5F9D4-2F58-4547-A69C-AD3DDFEE330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8586681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DD27C79-2048-A347-B2B0-18B54C8619C2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10227857" y="3030010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4A613BA6-97F2-774D-84C0-C028F8ADD208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383981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CA9D5C5F-7569-9846-A584-D0C19D6D17C7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2021982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EE5C4EF-E1E6-324A-B5CD-79B34B5D9C84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3659981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6A94C67-1A70-D84B-8428-2D8FF1179F24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5300765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8538E601-BDED-4C47-9C84-AFE6E8BF3D47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942331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04EC5536-1FBB-B648-9820-77DC879F5654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586681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29A2F07-15D7-9D45-9E10-69F6CDC16E19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0227857" y="4671485"/>
            <a:ext cx="1638000" cy="2462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DAA380AC-DAE8-4652-8F2C-01BE2D5AE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49E0A850-2327-47D3-B24E-6F823FCF45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5559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11430000" cy="454292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2" y="1371602"/>
            <a:ext cx="11430000" cy="1428083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BC270E8-7169-4852-B033-B6FC62BD3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73F6EF94-4582-4663-9862-ABDFE98F30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54374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276A76-1DB6-4C8F-8DC3-88668D150A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1" y="719665"/>
            <a:ext cx="11430000" cy="30764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Graphik Regular" panose="020B0503030202060203" pitchFamily="34" charset="0"/>
              </a:defRPr>
            </a:lvl1pPr>
          </a:lstStyle>
          <a:p>
            <a:pPr lvl="0"/>
            <a:r>
              <a:rPr lang="en-US"/>
              <a:t>Add a tagline – no more than 2 lin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143F507-F957-4C07-B40B-3667FA7C68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1" y="260648"/>
            <a:ext cx="11430000" cy="369204"/>
          </a:xfrm>
          <a:prstGeom prst="rect">
            <a:avLst/>
          </a:prstGeom>
        </p:spPr>
        <p:txBody>
          <a:bodyPr anchor="t"/>
          <a:lstStyle>
            <a:lvl1pPr>
              <a:defRPr lang="en-US" sz="2400" cap="all">
                <a:solidFill>
                  <a:srgbClr val="460073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B1DC183-1229-4210-B6F3-CE4E03916E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1344" y="6594613"/>
            <a:ext cx="8138160" cy="123111"/>
          </a:xfrm>
          <a:prstGeom prst="rect">
            <a:avLst/>
          </a:prstGeom>
        </p:spPr>
        <p:txBody>
          <a:bodyPr anchor="ctr"/>
          <a:lstStyle>
            <a:lvl1pPr>
              <a:defRPr sz="800" b="0"/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641268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34">
            <a:extLst>
              <a:ext uri="{FF2B5EF4-FFF2-40B4-BE49-F238E27FC236}">
                <a16:creationId xmlns:a16="http://schemas.microsoft.com/office/drawing/2014/main" id="{8963F246-8306-437C-A323-BD33529892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170" y="725853"/>
            <a:ext cx="7067830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 sz="4400" b="0">
                <a:latin typeface="Graphik-SemiboldItalic" panose="020B0703030202060203" pitchFamily="34" charset="0"/>
              </a:defRPr>
            </a:lvl1pPr>
          </a:lstStyle>
          <a:p>
            <a:pPr lvl="0"/>
            <a:r>
              <a:rPr lang="en-US"/>
              <a:t>Title goes here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57764C3-50BD-464B-9348-28B0E9207E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265065" y="6483735"/>
            <a:ext cx="471714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B882E3-AA57-DB47-B7F5-4E115F25E2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272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65452" y="6641382"/>
            <a:ext cx="770951" cy="123111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7"/>
            <a:ext cx="11498552" cy="4038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6"/>
            <a:ext cx="11498552" cy="30284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2400" cap="all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1719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BDC21-70FE-403C-BEC0-96980360D7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752834"/>
            <a:ext cx="9144000" cy="75713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F29083-1BFA-4A5D-9551-04D3F6C9ED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36920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3DD032-A9D4-4240-8E52-4F01BEEA6D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1C26E04-9239-45D8-A31B-7FC29089F000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453E97-3422-41DC-9FE8-A77211A33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D63BD1-8F7D-45E7-B6F6-3F0471F1E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77359"/>
            <a:ext cx="2743200" cy="123111"/>
          </a:xfrm>
          <a:prstGeom prst="rect">
            <a:avLst/>
          </a:prstGeom>
        </p:spPr>
        <p:txBody>
          <a:bodyPr/>
          <a:lstStyle/>
          <a:p>
            <a:fld id="{6709C1AD-78DE-423C-8167-A40981ED26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654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457946"/>
            <a:ext cx="7010399" cy="3971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0" cap="none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24769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11430000" cy="454292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2" y="1371602"/>
            <a:ext cx="11430000" cy="1428083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4708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489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clothing, underwear, umbrella&#10;&#10;Description automatically generated">
            <a:extLst>
              <a:ext uri="{FF2B5EF4-FFF2-40B4-BE49-F238E27FC236}">
                <a16:creationId xmlns:a16="http://schemas.microsoft.com/office/drawing/2014/main" id="{E1C157F4-16B3-4975-85F7-88675AD91E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317501"/>
            <a:ext cx="12172951" cy="6540500"/>
          </a:xfrm>
          <a:prstGeom prst="rect">
            <a:avLst/>
          </a:prstGeom>
        </p:spPr>
      </p:pic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457946"/>
            <a:ext cx="7010399" cy="39717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0" cap="none">
                <a:solidFill>
                  <a:schemeClr val="accent1"/>
                </a:solidFill>
                <a:latin typeface="Graphik Semibold" panose="020B0703030202060203" pitchFamily="34" charset="0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64389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Graphik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Graphik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 tit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/>
              <a:t>Insert 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022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AF657A7-9494-4FC8-8F78-B41D1E792E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74161" y="386176"/>
            <a:ext cx="2250859" cy="604157"/>
            <a:chOff x="9563100" y="1673029"/>
            <a:chExt cx="1389888" cy="37306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490354-5F33-4605-8C86-CA56C5A66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F386C0E-5C48-429C-AAD0-D3882C7E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</p:grp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3E776D5-98BF-44C6-856E-2B6B2B8485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2650" y="2897134"/>
            <a:ext cx="7010399" cy="51259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2650" y="3616315"/>
            <a:ext cx="7010399" cy="3971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357567-1A08-47E4-A9E2-38A5C9046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283" y="990334"/>
            <a:ext cx="7010400" cy="1700212"/>
          </a:xfrm>
        </p:spPr>
        <p:txBody>
          <a:bodyPr anchor="b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  <p:pic>
        <p:nvPicPr>
          <p:cNvPr id="4928" name="Picture 4927">
            <a:extLst>
              <a:ext uri="{FF2B5EF4-FFF2-40B4-BE49-F238E27FC236}">
                <a16:creationId xmlns:a16="http://schemas.microsoft.com/office/drawing/2014/main" id="{CA72A680-D409-4697-A47A-6060B52A1B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34966"/>
            <a:ext cx="12192000" cy="313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51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lothing, underwear, umbrella&#10;&#10;Description automatically generated">
            <a:extLst>
              <a:ext uri="{FF2B5EF4-FFF2-40B4-BE49-F238E27FC236}">
                <a16:creationId xmlns:a16="http://schemas.microsoft.com/office/drawing/2014/main" id="{96D6A508-061A-41B3-9629-19965BAB9A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" y="317501"/>
            <a:ext cx="12172951" cy="65405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AF657A7-9494-4FC8-8F78-B41D1E792E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74161" y="386176"/>
            <a:ext cx="2250859" cy="604157"/>
            <a:chOff x="9563100" y="1673029"/>
            <a:chExt cx="1389888" cy="37306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1490354-5F33-4605-8C86-CA56C5A66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9F386C0E-5C48-429C-AAD0-D3882C7E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</p:grp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B3E776D5-98BF-44C6-856E-2B6B2B8485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2650" y="2897134"/>
            <a:ext cx="7010399" cy="51259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93F8AE68-4006-4C4F-805E-94D8326B31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2650" y="3616315"/>
            <a:ext cx="7010399" cy="3971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000" b="0" cap="none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2pPr>
            <a:lvl3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3pPr>
            <a:lvl4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Graphik Light" panose="020B04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357567-1A08-47E4-A9E2-38A5C9046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13283" y="990334"/>
            <a:ext cx="7010400" cy="1700212"/>
          </a:xfrm>
        </p:spPr>
        <p:txBody>
          <a:bodyPr anchor="b">
            <a:noAutofit/>
          </a:bodyPr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</a:t>
            </a:r>
          </a:p>
          <a:p>
            <a:pPr lvl="0"/>
            <a:r>
              <a:rPr lang="en-US"/>
              <a:t>Headers</a:t>
            </a:r>
          </a:p>
        </p:txBody>
      </p:sp>
    </p:spTree>
    <p:extLst>
      <p:ext uri="{BB962C8B-B14F-4D97-AF65-F5344CB8AC3E}">
        <p14:creationId xmlns:p14="http://schemas.microsoft.com/office/powerpoint/2010/main" val="1923529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73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69.xml"/><Relationship Id="rId40" Type="http://schemas.openxmlformats.org/officeDocument/2006/relationships/slideLayout" Target="../slideLayouts/slideLayout72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slideLayout" Target="../slideLayouts/slideLayout67.xml"/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A2CA97-9088-4DCD-BE1B-6DF94FFBB019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102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Slide" r:id="rId39" imgW="395" imgH="396" progId="TCLayout.ActiveDocument.1">
                  <p:embed/>
                </p:oleObj>
              </mc:Choice>
              <mc:Fallback>
                <p:oleObj name="think-cell Slide" r:id="rId3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A2CA97-9088-4DCD-BE1B-6DF94FFBB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3999E8-67DE-40C1-AC61-5B7F352F0174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AMC_Footer">
            <a:extLst>
              <a:ext uri="{FF2B5EF4-FFF2-40B4-BE49-F238E27FC236}">
                <a16:creationId xmlns:a16="http://schemas.microsoft.com/office/drawing/2014/main" id="{9EC2615C-195F-4E98-9980-A91535A40AB5}"/>
              </a:ext>
            </a:extLst>
          </p:cNvPr>
          <p:cNvSpPr txBox="1">
            <a:spLocks/>
          </p:cNvSpPr>
          <p:nvPr/>
        </p:nvSpPr>
        <p:spPr>
          <a:xfrm>
            <a:off x="381000" y="6508170"/>
            <a:ext cx="3315490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pyright © 2021 Accenture. All rights reserved.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C91CD139-7AA0-4DF7-911C-843A3702DA31}"/>
              </a:ext>
            </a:extLst>
          </p:cNvPr>
          <p:cNvSpPr txBox="1">
            <a:spLocks/>
          </p:cNvSpPr>
          <p:nvPr/>
        </p:nvSpPr>
        <p:spPr>
          <a:xfrm>
            <a:off x="11282152" y="6508170"/>
            <a:ext cx="528848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B1ACDB-A7D8-4B90-8BA2-21F5E15BC2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51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" name="think-cell Slide" r:id="rId41" imgW="395" imgH="396" progId="TCLayout.ActiveDocument.1">
                  <p:embed/>
                </p:oleObj>
              </mc:Choice>
              <mc:Fallback>
                <p:oleObj name="think-cell Slide" r:id="rId41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B1ACDB-A7D8-4B90-8BA2-21F5E15BC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9DFFC19-6C7E-42E2-8134-4201D267D53C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82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86" r:id="rId3"/>
    <p:sldLayoutId id="2147483988" r:id="rId4"/>
    <p:sldLayoutId id="2147483989" r:id="rId5"/>
    <p:sldLayoutId id="2147484005" r:id="rId6"/>
    <p:sldLayoutId id="2147484738" r:id="rId7"/>
    <p:sldLayoutId id="2147484003" r:id="rId8"/>
    <p:sldLayoutId id="2147484742" r:id="rId9"/>
    <p:sldLayoutId id="2147484008" r:id="rId10"/>
    <p:sldLayoutId id="2147484009" r:id="rId11"/>
    <p:sldLayoutId id="2147484010" r:id="rId12"/>
    <p:sldLayoutId id="2147484013" r:id="rId13"/>
    <p:sldLayoutId id="2147484014" r:id="rId14"/>
    <p:sldLayoutId id="2147484017" r:id="rId15"/>
    <p:sldLayoutId id="2147484018" r:id="rId16"/>
    <p:sldLayoutId id="2147484022" r:id="rId17"/>
    <p:sldLayoutId id="2147484024" r:id="rId18"/>
    <p:sldLayoutId id="2147484027" r:id="rId19"/>
    <p:sldLayoutId id="2147484026" r:id="rId20"/>
    <p:sldLayoutId id="2147484023" r:id="rId21"/>
    <p:sldLayoutId id="2147484722" r:id="rId22"/>
    <p:sldLayoutId id="2147484725" r:id="rId23"/>
    <p:sldLayoutId id="2147484726" r:id="rId24"/>
    <p:sldLayoutId id="2147484727" r:id="rId25"/>
    <p:sldLayoutId id="2147484728" r:id="rId26"/>
    <p:sldLayoutId id="2147484743" r:id="rId27"/>
    <p:sldLayoutId id="2147484730" r:id="rId28"/>
    <p:sldLayoutId id="2147484732" r:id="rId29"/>
    <p:sldLayoutId id="2147484734" r:id="rId30"/>
    <p:sldLayoutId id="2147484741" r:id="rId31"/>
    <p:sldLayoutId id="2147484739" r:id="rId3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lang="en-US" sz="3600" b="0" kern="1200" cap="none" baseline="0" dirty="0">
          <a:solidFill>
            <a:schemeClr val="tx1"/>
          </a:solidFill>
          <a:latin typeface="Graphik Medium" panose="020B06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Graphik Medium" panose="020B0603030202060203" pitchFamily="34" charset="0"/>
          <a:ea typeface="+mn-ea"/>
          <a:cs typeface="+mn-cs"/>
        </a:defRPr>
      </a:lvl1pPr>
      <a:lvl2pPr marL="216000" indent="-21600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432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5" y="384920"/>
            <a:ext cx="11459310" cy="4038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5" y="803497"/>
            <a:ext cx="11459310" cy="14280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26891" y="6577699"/>
            <a:ext cx="989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defRPr>
            </a:lvl1pPr>
          </a:lstStyle>
          <a:p>
            <a:fld id="{9953BA9C-3965-C049-A037-AFDFDBBD05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56615" y="6577699"/>
            <a:ext cx="274620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b="0" i="0">
                <a:solidFill>
                  <a:schemeClr val="tx2">
                    <a:lumMod val="75000"/>
                  </a:schemeClr>
                </a:solidFill>
                <a:latin typeface="Graphik Light" panose="020B0403030202060203" pitchFamily="34" charset="77"/>
              </a:rPr>
              <a:t>Copyright © 2021 Accenture.  All rights reserved.</a:t>
            </a:r>
            <a:endParaRPr lang="en-US" sz="800" b="0" i="0">
              <a:solidFill>
                <a:schemeClr val="tx2">
                  <a:lumMod val="75000"/>
                </a:schemeClr>
              </a:solidFill>
              <a:latin typeface="Graphik Light" panose="020B04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5902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59" r:id="rId2"/>
    <p:sldLayoutId id="2147483653" r:id="rId3"/>
    <p:sldLayoutId id="2147483719" r:id="rId4"/>
    <p:sldLayoutId id="2147483723" r:id="rId5"/>
    <p:sldLayoutId id="2147483716" r:id="rId6"/>
    <p:sldLayoutId id="2147483650" r:id="rId7"/>
    <p:sldLayoutId id="2147483673" r:id="rId8"/>
    <p:sldLayoutId id="2147483698" r:id="rId9"/>
    <p:sldLayoutId id="2147483674" r:id="rId10"/>
    <p:sldLayoutId id="2147483675" r:id="rId11"/>
    <p:sldLayoutId id="2147483676" r:id="rId12"/>
    <p:sldLayoutId id="2147483682" r:id="rId13"/>
    <p:sldLayoutId id="2147483677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708" r:id="rId21"/>
    <p:sldLayoutId id="2147483697" r:id="rId22"/>
    <p:sldLayoutId id="2147483689" r:id="rId23"/>
    <p:sldLayoutId id="2147483690" r:id="rId24"/>
    <p:sldLayoutId id="2147483691" r:id="rId25"/>
    <p:sldLayoutId id="2147483693" r:id="rId26"/>
    <p:sldLayoutId id="2147483713" r:id="rId27"/>
    <p:sldLayoutId id="2147483694" r:id="rId28"/>
    <p:sldLayoutId id="2147483695" r:id="rId29"/>
    <p:sldLayoutId id="2147483696" r:id="rId30"/>
    <p:sldLayoutId id="2147483680" r:id="rId31"/>
    <p:sldLayoutId id="2147483710" r:id="rId32"/>
    <p:sldLayoutId id="2147483711" r:id="rId33"/>
    <p:sldLayoutId id="2147483714" r:id="rId34"/>
    <p:sldLayoutId id="2147483718" r:id="rId35"/>
    <p:sldLayoutId id="2147483720" r:id="rId36"/>
    <p:sldLayoutId id="2147483721" r:id="rId37"/>
    <p:sldLayoutId id="2147483722" r:id="rId38"/>
    <p:sldLayoutId id="2147484744" r:id="rId39"/>
    <p:sldLayoutId id="2147484745" r:id="rId40"/>
    <p:sldLayoutId id="2147484746" r:id="rId41"/>
  </p:sldLayoutIdLst>
  <p:hf hdr="0" ftr="0" dt="0"/>
  <p:txStyles>
    <p:titleStyle>
      <a:lvl1pPr algn="l" defTabSz="609493" rtl="0" eaLnBrk="1" latinLnBrk="0" hangingPunct="1">
        <a:lnSpc>
          <a:spcPct val="8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j-lt"/>
          <a:ea typeface="+mj-ea"/>
          <a:cs typeface="Arial Black" charset="0"/>
        </a:defRPr>
      </a:lvl1pPr>
    </p:titleStyle>
    <p:bodyStyle>
      <a:lvl1pPr marL="361950" indent="-361950" algn="l" defTabSz="609493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rgbClr val="7F7F7F"/>
          </a:solidFill>
          <a:latin typeface="Graphik Light" panose="020B0403030202060203" pitchFamily="34" charset="77"/>
          <a:ea typeface="+mn-ea"/>
          <a:cs typeface="+mn-cs"/>
        </a:defRPr>
      </a:lvl1pPr>
      <a:lvl2pPr marL="715963" indent="-354013" algn="l" defTabSz="609493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7F7F7F"/>
          </a:solidFill>
          <a:latin typeface="Graphik Light" panose="020B0403030202060203" pitchFamily="34" charset="77"/>
          <a:ea typeface="+mn-ea"/>
          <a:cs typeface="+mn-cs"/>
        </a:defRPr>
      </a:lvl2pPr>
      <a:lvl3pPr marL="1077913" indent="-354013" algn="l" defTabSz="609493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rgbClr val="7F7F7F"/>
          </a:solidFill>
          <a:latin typeface="Graphik Light" panose="020B0403030202060203" pitchFamily="34" charset="77"/>
          <a:ea typeface="+mn-ea"/>
          <a:cs typeface="+mn-cs"/>
        </a:defRPr>
      </a:lvl3pPr>
      <a:lvl4pPr marL="1439863" indent="-361950" algn="l" defTabSz="609493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7F7F7F"/>
          </a:solidFill>
          <a:latin typeface="Graphik Light" panose="020B0403030202060203" pitchFamily="34" charset="77"/>
          <a:ea typeface="+mn-ea"/>
          <a:cs typeface="+mn-cs"/>
        </a:defRPr>
      </a:lvl4pPr>
      <a:lvl5pPr marL="1793875" indent="-354013" algn="l" defTabSz="609493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rgbClr val="7F7F7F"/>
          </a:solidFill>
          <a:latin typeface="Graphik Light" panose="020B0403030202060203" pitchFamily="34" charset="77"/>
          <a:ea typeface="+mn-ea"/>
          <a:cs typeface="+mn-cs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41F247-0AF3-4E4B-AA96-A4D5F4FCD3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5069D6FF-2838-44DA-8394-6A51B2E55FF2}"/>
              </a:ext>
            </a:extLst>
          </p:cNvPr>
          <p:cNvSpPr txBox="1">
            <a:spLocks/>
          </p:cNvSpPr>
          <p:nvPr/>
        </p:nvSpPr>
        <p:spPr>
          <a:xfrm>
            <a:off x="369850" y="261686"/>
            <a:ext cx="8004716" cy="26993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600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B33ADBE2-AE7F-489B-AC52-CFF3E056C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43" y="384465"/>
            <a:ext cx="8973351" cy="227113"/>
          </a:xfrm>
        </p:spPr>
        <p:txBody>
          <a:bodyPr vert="horz"/>
          <a:lstStyle/>
          <a:p>
            <a:r>
              <a:rPr lang="en-GB" sz="1800">
                <a:solidFill>
                  <a:srgbClr val="A100FE"/>
                </a:solidFill>
              </a:rPr>
              <a:t>Mini Project User Stories &amp; Acceptance Criteria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C9B8D79F-5870-4DEE-8C2E-7C8D7CE17771}"/>
              </a:ext>
            </a:extLst>
          </p:cNvPr>
          <p:cNvSpPr txBox="1">
            <a:spLocks/>
          </p:cNvSpPr>
          <p:nvPr/>
        </p:nvSpPr>
        <p:spPr>
          <a:xfrm rot="-5400000">
            <a:off x="-491734" y="2583362"/>
            <a:ext cx="1658152" cy="1766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0949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Arial Black" charset="0"/>
              </a:defRPr>
            </a:lvl1pPr>
          </a:lstStyle>
          <a:p>
            <a:r>
              <a:rPr lang="en-GB" sz="1400" i="1"/>
              <a:t>Functional </a:t>
            </a:r>
          </a:p>
        </p:txBody>
      </p:sp>
      <p:graphicFrame>
        <p:nvGraphicFramePr>
          <p:cNvPr id="15" name="Table 7">
            <a:extLst>
              <a:ext uri="{FF2B5EF4-FFF2-40B4-BE49-F238E27FC236}">
                <a16:creationId xmlns:a16="http://schemas.microsoft.com/office/drawing/2014/main" id="{50159127-63A9-4D22-8A8B-CC85F6C1CE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314968"/>
              </p:ext>
            </p:extLst>
          </p:nvPr>
        </p:nvGraphicFramePr>
        <p:xfrm>
          <a:off x="645458" y="663387"/>
          <a:ext cx="10423683" cy="420624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959223">
                  <a:extLst>
                    <a:ext uri="{9D8B030D-6E8A-4147-A177-3AD203B41FA5}">
                      <a16:colId xmlns:a16="http://schemas.microsoft.com/office/drawing/2014/main" val="526068199"/>
                    </a:ext>
                  </a:extLst>
                </a:gridCol>
                <a:gridCol w="6318689">
                  <a:extLst>
                    <a:ext uri="{9D8B030D-6E8A-4147-A177-3AD203B41FA5}">
                      <a16:colId xmlns:a16="http://schemas.microsoft.com/office/drawing/2014/main" val="3108445013"/>
                    </a:ext>
                  </a:extLst>
                </a:gridCol>
                <a:gridCol w="721229">
                  <a:extLst>
                    <a:ext uri="{9D8B030D-6E8A-4147-A177-3AD203B41FA5}">
                      <a16:colId xmlns:a16="http://schemas.microsoft.com/office/drawing/2014/main" val="2219067113"/>
                    </a:ext>
                  </a:extLst>
                </a:gridCol>
                <a:gridCol w="713078">
                  <a:extLst>
                    <a:ext uri="{9D8B030D-6E8A-4147-A177-3AD203B41FA5}">
                      <a16:colId xmlns:a16="http://schemas.microsoft.com/office/drawing/2014/main" val="3872785633"/>
                    </a:ext>
                  </a:extLst>
                </a:gridCol>
                <a:gridCol w="745863">
                  <a:extLst>
                    <a:ext uri="{9D8B030D-6E8A-4147-A177-3AD203B41FA5}">
                      <a16:colId xmlns:a16="http://schemas.microsoft.com/office/drawing/2014/main" val="3524429320"/>
                    </a:ext>
                  </a:extLst>
                </a:gridCol>
                <a:gridCol w="965601">
                  <a:extLst>
                    <a:ext uri="{9D8B030D-6E8A-4147-A177-3AD203B41FA5}">
                      <a16:colId xmlns:a16="http://schemas.microsoft.com/office/drawing/2014/main" val="857619167"/>
                    </a:ext>
                  </a:extLst>
                </a:gridCol>
              </a:tblGrid>
              <a:tr h="236692">
                <a:tc>
                  <a:txBody>
                    <a:bodyPr/>
                    <a:lstStyle/>
                    <a:p>
                      <a:r>
                        <a:rPr lang="en-US" sz="800"/>
                        <a:t>User Story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Acceptance Criteria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Complet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b="1" i="0" u="none" strike="noStrike" noProof="0">
                          <a:latin typeface="Graphik Light"/>
                        </a:rPr>
                        <a:t>Partially </a:t>
                      </a:r>
                      <a:endParaRPr lang="en-US" sz="800"/>
                    </a:p>
                    <a:p>
                      <a:pPr lvl="0">
                        <a:buNone/>
                      </a:pPr>
                      <a:r>
                        <a:rPr lang="en-US" sz="800" b="1" i="0" u="none" strike="noStrike" noProof="0">
                          <a:latin typeface="Graphik Light"/>
                        </a:rPr>
                        <a:t>Completed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/>
                        <a:t>Not Complet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/>
                        <a:t>Comments 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928380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800"/>
                        <a:t>User Story 1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Clicking a column will place either a red or yellow disc in the lowest down unoccupied position in the clicked column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66041"/>
                  </a:ext>
                </a:extLst>
              </a:tr>
              <a:tr h="155718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Colour of disc will alternate each turn (click)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662684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No more than 42 turns can be play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7459191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Only one disc can occupy a single place in a position of the grid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420388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Red goes first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837125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Once a column is full (6 discs), no more discs can be place</a:t>
                      </a: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5533148"/>
                  </a:ext>
                </a:extLst>
              </a:tr>
              <a:tr h="15571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/>
                        <a:t>User Story 2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Winner message should be clear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87881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Red goes first after reset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3530884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After reset games should continue to meet acceptance criteria of user story 1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537266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800"/>
                        <a:t>User Story 3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800"/>
                        <a:t>A winner can be declared if a line occurs along any part of a row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474144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A winner can be declared if a line occurs along any part of a column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823996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A winner can be declared if a line fills any part of any diagonal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3865241"/>
                  </a:ext>
                </a:extLst>
              </a:tr>
              <a:tr h="15571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/>
                        <a:t>If all positions are occupied and no lines are achieved, then nobody is declared the winner</a:t>
                      </a: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Show message “nobody wins”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9073876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dirty="0"/>
                        <a:t>If a winner is declared, then no further discs can be placed until the board is reset as per user story 2</a:t>
                      </a: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994087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/>
                        <a:t>User Story 4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b="0" i="0" u="none" strike="noStrike" noProof="0" dirty="0">
                          <a:latin typeface="Graphik Light"/>
                        </a:rPr>
                        <a:t>High scores shown after every game, no matter who wins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596535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b="0" i="0" u="none" strike="noStrike" noProof="0">
                          <a:latin typeface="Graphik Light"/>
                        </a:rPr>
                        <a:t>Score is calculated by subtracting the number of turns made before a winner is declared from 42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096992"/>
                  </a:ext>
                </a:extLst>
              </a:tr>
              <a:tr h="14949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b="0" i="0" u="none" strike="noStrike" noProof="0" dirty="0">
                          <a:latin typeface="Graphik Light"/>
                        </a:rPr>
                        <a:t>Players names are captured and associated with the winning score recorded for yellow or red after every game completes, unless nobody won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174811"/>
                  </a:ext>
                </a:extLst>
              </a:tr>
            </a:tbl>
          </a:graphicData>
        </a:graphic>
      </p:graphicFrame>
      <p:pic>
        <p:nvPicPr>
          <p:cNvPr id="17" name="Graphic 12" descr="Checkmark with solid fill">
            <a:extLst>
              <a:ext uri="{FF2B5EF4-FFF2-40B4-BE49-F238E27FC236}">
                <a16:creationId xmlns:a16="http://schemas.microsoft.com/office/drawing/2014/main" id="{B42BCC5C-818E-48BB-BAF8-607AFDE196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867" y="1034811"/>
            <a:ext cx="195696" cy="195696"/>
          </a:xfrm>
          <a:prstGeom prst="rect">
            <a:avLst/>
          </a:prstGeom>
        </p:spPr>
      </p:pic>
      <p:graphicFrame>
        <p:nvGraphicFramePr>
          <p:cNvPr id="22" name="Table 7">
            <a:extLst>
              <a:ext uri="{FF2B5EF4-FFF2-40B4-BE49-F238E27FC236}">
                <a16:creationId xmlns:a16="http://schemas.microsoft.com/office/drawing/2014/main" id="{9EE1C932-1B2D-4A59-9D0D-EAEE7772E7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716033"/>
              </p:ext>
            </p:extLst>
          </p:nvPr>
        </p:nvGraphicFramePr>
        <p:xfrm>
          <a:off x="620643" y="4823726"/>
          <a:ext cx="10493247" cy="162793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299435">
                  <a:extLst>
                    <a:ext uri="{9D8B030D-6E8A-4147-A177-3AD203B41FA5}">
                      <a16:colId xmlns:a16="http://schemas.microsoft.com/office/drawing/2014/main" val="526068199"/>
                    </a:ext>
                  </a:extLst>
                </a:gridCol>
                <a:gridCol w="6051176">
                  <a:extLst>
                    <a:ext uri="{9D8B030D-6E8A-4147-A177-3AD203B41FA5}">
                      <a16:colId xmlns:a16="http://schemas.microsoft.com/office/drawing/2014/main" val="3108445013"/>
                    </a:ext>
                  </a:extLst>
                </a:gridCol>
                <a:gridCol w="707852">
                  <a:extLst>
                    <a:ext uri="{9D8B030D-6E8A-4147-A177-3AD203B41FA5}">
                      <a16:colId xmlns:a16="http://schemas.microsoft.com/office/drawing/2014/main" val="2219067113"/>
                    </a:ext>
                  </a:extLst>
                </a:gridCol>
                <a:gridCol w="713412">
                  <a:extLst>
                    <a:ext uri="{9D8B030D-6E8A-4147-A177-3AD203B41FA5}">
                      <a16:colId xmlns:a16="http://schemas.microsoft.com/office/drawing/2014/main" val="3872785633"/>
                    </a:ext>
                  </a:extLst>
                </a:gridCol>
                <a:gridCol w="760593">
                  <a:extLst>
                    <a:ext uri="{9D8B030D-6E8A-4147-A177-3AD203B41FA5}">
                      <a16:colId xmlns:a16="http://schemas.microsoft.com/office/drawing/2014/main" val="3524429320"/>
                    </a:ext>
                  </a:extLst>
                </a:gridCol>
                <a:gridCol w="960779">
                  <a:extLst>
                    <a:ext uri="{9D8B030D-6E8A-4147-A177-3AD203B41FA5}">
                      <a16:colId xmlns:a16="http://schemas.microsoft.com/office/drawing/2014/main" val="857619167"/>
                    </a:ext>
                  </a:extLst>
                </a:gridCol>
              </a:tblGrid>
              <a:tr h="3455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Requirement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Acceptance Criteria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Complet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b="1" i="0" u="none" strike="noStrike" noProof="0" dirty="0">
                          <a:latin typeface="Graphik Light"/>
                        </a:rPr>
                        <a:t>Partially </a:t>
                      </a:r>
                      <a:endParaRPr lang="en-US" sz="800" dirty="0"/>
                    </a:p>
                    <a:p>
                      <a:pPr lvl="0">
                        <a:buNone/>
                      </a:pPr>
                      <a:r>
                        <a:rPr lang="en-US" sz="800" b="1" i="0" u="none" strike="noStrike" noProof="0" dirty="0">
                          <a:latin typeface="Graphik Light"/>
                        </a:rPr>
                        <a:t>Completed</a:t>
                      </a: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Not Complet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Comments 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928380"/>
                  </a:ext>
                </a:extLst>
              </a:tr>
              <a:tr h="27243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800" dirty="0"/>
                        <a:t>Code Check-In to Git</a:t>
                      </a: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800" dirty="0"/>
                        <a:t>All code file should be checked in to git with appropriate comments 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66041"/>
                  </a:ext>
                </a:extLst>
              </a:tr>
              <a:tr h="252496">
                <a:tc>
                  <a:txBody>
                    <a:bodyPr/>
                    <a:lstStyle/>
                    <a:p>
                      <a:r>
                        <a:rPr lang="en-US" sz="800" dirty="0"/>
                        <a:t>Pure Function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dirty="0"/>
                        <a:t>All functions created within your code must be pure functions and meet the pure functions </a:t>
                      </a:r>
                      <a:r>
                        <a:rPr lang="en-GB" sz="800" dirty="0" err="1"/>
                        <a:t>criteria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662684"/>
                  </a:ext>
                </a:extLst>
              </a:tr>
              <a:tr h="2524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Resilience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dirty="0"/>
                        <a:t>High scores must be persisted even after server restart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8916944"/>
                  </a:ext>
                </a:extLst>
              </a:tr>
              <a:tr h="2524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/>
                        <a:t>README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dirty="0"/>
                        <a:t>Your code should contain a README, which informs how to clone, build and run your code as well as how to </a:t>
                      </a:r>
                      <a:r>
                        <a:rPr lang="en-GB" sz="800" dirty="0" err="1"/>
                        <a:t>contirbute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74675"/>
                  </a:ext>
                </a:extLst>
              </a:tr>
              <a:tr h="2524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800" dirty="0" err="1"/>
                        <a:t>ESLint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800" dirty="0"/>
                        <a:t>Your code should have no linting error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800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001915"/>
                  </a:ext>
                </a:extLst>
              </a:tr>
            </a:tbl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541EB45F-8693-4E33-BFCB-3F87F3199740}"/>
              </a:ext>
            </a:extLst>
          </p:cNvPr>
          <p:cNvSpPr txBox="1">
            <a:spLocks/>
          </p:cNvSpPr>
          <p:nvPr/>
        </p:nvSpPr>
        <p:spPr>
          <a:xfrm rot="16200000">
            <a:off x="-434702" y="5495711"/>
            <a:ext cx="1371283" cy="1766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0949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Arial Black" charset="0"/>
              </a:defRPr>
            </a:lvl1pPr>
          </a:lstStyle>
          <a:p>
            <a:r>
              <a:rPr lang="en-GB" sz="1400" i="1"/>
              <a:t>Non-Functional </a:t>
            </a:r>
          </a:p>
        </p:txBody>
      </p:sp>
      <p:pic>
        <p:nvPicPr>
          <p:cNvPr id="11" name="Graphic 12" descr="Checkmark with solid fill">
            <a:extLst>
              <a:ext uri="{FF2B5EF4-FFF2-40B4-BE49-F238E27FC236}">
                <a16:creationId xmlns:a16="http://schemas.microsoft.com/office/drawing/2014/main" id="{E58659E8-E5C1-4EAD-A6CD-A399DA55AB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1208678"/>
            <a:ext cx="195696" cy="195696"/>
          </a:xfrm>
          <a:prstGeom prst="rect">
            <a:avLst/>
          </a:prstGeom>
        </p:spPr>
      </p:pic>
      <p:pic>
        <p:nvPicPr>
          <p:cNvPr id="12" name="Graphic 12" descr="Checkmark with solid fill">
            <a:extLst>
              <a:ext uri="{FF2B5EF4-FFF2-40B4-BE49-F238E27FC236}">
                <a16:creationId xmlns:a16="http://schemas.microsoft.com/office/drawing/2014/main" id="{65375409-C563-4961-BFB9-704D826E00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1437459"/>
            <a:ext cx="195696" cy="195696"/>
          </a:xfrm>
          <a:prstGeom prst="rect">
            <a:avLst/>
          </a:prstGeom>
        </p:spPr>
      </p:pic>
      <p:pic>
        <p:nvPicPr>
          <p:cNvPr id="13" name="Graphic 12" descr="Checkmark with solid fill">
            <a:extLst>
              <a:ext uri="{FF2B5EF4-FFF2-40B4-BE49-F238E27FC236}">
                <a16:creationId xmlns:a16="http://schemas.microsoft.com/office/drawing/2014/main" id="{E290481D-A843-4EFA-BB1B-2D616FE6B2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1644411"/>
            <a:ext cx="195696" cy="195696"/>
          </a:xfrm>
          <a:prstGeom prst="rect">
            <a:avLst/>
          </a:prstGeom>
        </p:spPr>
      </p:pic>
      <p:pic>
        <p:nvPicPr>
          <p:cNvPr id="14" name="Graphic 12" descr="Checkmark with solid fill">
            <a:extLst>
              <a:ext uri="{FF2B5EF4-FFF2-40B4-BE49-F238E27FC236}">
                <a16:creationId xmlns:a16="http://schemas.microsoft.com/office/drawing/2014/main" id="{B531BDB0-168D-4F58-B8DC-E54D07773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1851363"/>
            <a:ext cx="195696" cy="195696"/>
          </a:xfrm>
          <a:prstGeom prst="rect">
            <a:avLst/>
          </a:prstGeom>
        </p:spPr>
      </p:pic>
      <p:pic>
        <p:nvPicPr>
          <p:cNvPr id="16" name="Graphic 12" descr="Checkmark with solid fill">
            <a:extLst>
              <a:ext uri="{FF2B5EF4-FFF2-40B4-BE49-F238E27FC236}">
                <a16:creationId xmlns:a16="http://schemas.microsoft.com/office/drawing/2014/main" id="{F27B428C-ED89-4DDF-96C7-B3CD5F2C2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2064019"/>
            <a:ext cx="195696" cy="195696"/>
          </a:xfrm>
          <a:prstGeom prst="rect">
            <a:avLst/>
          </a:prstGeom>
        </p:spPr>
      </p:pic>
      <p:pic>
        <p:nvPicPr>
          <p:cNvPr id="18" name="Graphic 12" descr="Checkmark with solid fill">
            <a:extLst>
              <a:ext uri="{FF2B5EF4-FFF2-40B4-BE49-F238E27FC236}">
                <a16:creationId xmlns:a16="http://schemas.microsoft.com/office/drawing/2014/main" id="{F1DFC33F-B982-46C3-8285-C0718A28E0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2283797"/>
            <a:ext cx="195696" cy="195696"/>
          </a:xfrm>
          <a:prstGeom prst="rect">
            <a:avLst/>
          </a:prstGeom>
        </p:spPr>
      </p:pic>
      <p:pic>
        <p:nvPicPr>
          <p:cNvPr id="19" name="Graphic 12" descr="Checkmark with solid fill">
            <a:extLst>
              <a:ext uri="{FF2B5EF4-FFF2-40B4-BE49-F238E27FC236}">
                <a16:creationId xmlns:a16="http://schemas.microsoft.com/office/drawing/2014/main" id="{C8AFB3D6-3B66-4ECD-A9C5-20B5603369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2503693"/>
            <a:ext cx="195696" cy="195696"/>
          </a:xfrm>
          <a:prstGeom prst="rect">
            <a:avLst/>
          </a:prstGeom>
        </p:spPr>
      </p:pic>
      <p:pic>
        <p:nvPicPr>
          <p:cNvPr id="20" name="Graphic 12" descr="Checkmark with solid fill">
            <a:extLst>
              <a:ext uri="{FF2B5EF4-FFF2-40B4-BE49-F238E27FC236}">
                <a16:creationId xmlns:a16="http://schemas.microsoft.com/office/drawing/2014/main" id="{52FA69AB-8960-4476-B0C5-F6C7E125B3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2697070"/>
            <a:ext cx="195696" cy="195696"/>
          </a:xfrm>
          <a:prstGeom prst="rect">
            <a:avLst/>
          </a:prstGeom>
        </p:spPr>
      </p:pic>
      <p:pic>
        <p:nvPicPr>
          <p:cNvPr id="21" name="Graphic 12" descr="Checkmark with solid fill">
            <a:extLst>
              <a:ext uri="{FF2B5EF4-FFF2-40B4-BE49-F238E27FC236}">
                <a16:creationId xmlns:a16="http://schemas.microsoft.com/office/drawing/2014/main" id="{3A5406EC-7E72-4204-9C05-9400E6851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2916848"/>
            <a:ext cx="195696" cy="195696"/>
          </a:xfrm>
          <a:prstGeom prst="rect">
            <a:avLst/>
          </a:prstGeom>
        </p:spPr>
      </p:pic>
      <p:pic>
        <p:nvPicPr>
          <p:cNvPr id="23" name="Graphic 12" descr="Checkmark with solid fill">
            <a:extLst>
              <a:ext uri="{FF2B5EF4-FFF2-40B4-BE49-F238E27FC236}">
                <a16:creationId xmlns:a16="http://schemas.microsoft.com/office/drawing/2014/main" id="{3BC0C188-B96A-409B-AE15-B697814102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3136744"/>
            <a:ext cx="195696" cy="195696"/>
          </a:xfrm>
          <a:prstGeom prst="rect">
            <a:avLst/>
          </a:prstGeom>
        </p:spPr>
      </p:pic>
      <p:pic>
        <p:nvPicPr>
          <p:cNvPr id="24" name="Graphic 12" descr="Checkmark with solid fill">
            <a:extLst>
              <a:ext uri="{FF2B5EF4-FFF2-40B4-BE49-F238E27FC236}">
                <a16:creationId xmlns:a16="http://schemas.microsoft.com/office/drawing/2014/main" id="{F13083A8-1426-45C2-A646-FEDC4076F5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3360202"/>
            <a:ext cx="195696" cy="195696"/>
          </a:xfrm>
          <a:prstGeom prst="rect">
            <a:avLst/>
          </a:prstGeom>
        </p:spPr>
      </p:pic>
      <p:pic>
        <p:nvPicPr>
          <p:cNvPr id="29" name="Graphic 12" descr="Checkmark with solid fill">
            <a:extLst>
              <a:ext uri="{FF2B5EF4-FFF2-40B4-BE49-F238E27FC236}">
                <a16:creationId xmlns:a16="http://schemas.microsoft.com/office/drawing/2014/main" id="{C3D3EF83-6300-42E9-B142-F0B98AAEEC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3896268"/>
            <a:ext cx="195696" cy="195696"/>
          </a:xfrm>
          <a:prstGeom prst="rect">
            <a:avLst/>
          </a:prstGeom>
        </p:spPr>
      </p:pic>
      <p:pic>
        <p:nvPicPr>
          <p:cNvPr id="30" name="Graphic 12" descr="Checkmark with solid fill">
            <a:extLst>
              <a:ext uri="{FF2B5EF4-FFF2-40B4-BE49-F238E27FC236}">
                <a16:creationId xmlns:a16="http://schemas.microsoft.com/office/drawing/2014/main" id="{69AF8D3D-322F-4D27-9198-F355FA333A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4106949"/>
            <a:ext cx="195696" cy="195696"/>
          </a:xfrm>
          <a:prstGeom prst="rect">
            <a:avLst/>
          </a:prstGeom>
        </p:spPr>
      </p:pic>
      <p:pic>
        <p:nvPicPr>
          <p:cNvPr id="31" name="Graphic 12" descr="Checkmark with solid fill">
            <a:extLst>
              <a:ext uri="{FF2B5EF4-FFF2-40B4-BE49-F238E27FC236}">
                <a16:creationId xmlns:a16="http://schemas.microsoft.com/office/drawing/2014/main" id="{AD78738B-5546-4CE9-95BB-6945E9247A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4331007"/>
            <a:ext cx="195696" cy="195696"/>
          </a:xfrm>
          <a:prstGeom prst="rect">
            <a:avLst/>
          </a:prstGeom>
        </p:spPr>
      </p:pic>
      <p:pic>
        <p:nvPicPr>
          <p:cNvPr id="32" name="Graphic 12" descr="Checkmark with solid fill">
            <a:extLst>
              <a:ext uri="{FF2B5EF4-FFF2-40B4-BE49-F238E27FC236}">
                <a16:creationId xmlns:a16="http://schemas.microsoft.com/office/drawing/2014/main" id="{36B79775-05AB-41E4-8665-E6D5404E3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2234" y="3602314"/>
            <a:ext cx="195696" cy="195696"/>
          </a:xfrm>
          <a:prstGeom prst="rect">
            <a:avLst/>
          </a:prstGeom>
        </p:spPr>
      </p:pic>
      <p:pic>
        <p:nvPicPr>
          <p:cNvPr id="33" name="Graphic 12" descr="Checkmark with solid fill">
            <a:extLst>
              <a:ext uri="{FF2B5EF4-FFF2-40B4-BE49-F238E27FC236}">
                <a16:creationId xmlns:a16="http://schemas.microsoft.com/office/drawing/2014/main" id="{B6D6BAB6-96E1-4779-A7EF-E5A158287C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78334" y="4574350"/>
            <a:ext cx="195696" cy="19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678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1109D-AFD5-4790-A1C2-9323C8541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443198"/>
          </a:xfrm>
        </p:spPr>
        <p:txBody>
          <a:bodyPr/>
          <a:lstStyle/>
          <a:p>
            <a:r>
              <a:rPr lang="en-GB" dirty="0"/>
              <a:t>Enter Name, Alternating Turns Dem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F5AEA0-4960-45B2-A74A-D6B5F01F9A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F877FB-DBD2-4011-8F49-BC4301742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45" y="1361249"/>
            <a:ext cx="3847748" cy="39537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E2CFFBB-9A84-40F6-9F78-9CA61FE44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4795" y="1539790"/>
            <a:ext cx="3669010" cy="375611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C36E37-A3C4-489B-81A1-707028CBB5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9923" y="1558840"/>
            <a:ext cx="3585814" cy="379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49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C76A9-23F5-4E31-A558-F321C0B2A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443198"/>
          </a:xfrm>
        </p:spPr>
        <p:txBody>
          <a:bodyPr/>
          <a:lstStyle/>
          <a:p>
            <a:r>
              <a:rPr lang="en-GB" dirty="0"/>
              <a:t>High Score Dem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C8190-8A23-49F3-B693-47E92A8C9E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D7EC8F-329F-4E59-8AEC-03084E7287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70" y="1344861"/>
            <a:ext cx="3892895" cy="43400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4D283E5-E926-4951-881D-14398D0C2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3965" y="1344861"/>
            <a:ext cx="3676650" cy="40367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52C9C1-6F42-4A38-9FE6-D6AF67493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8801" y="1344861"/>
            <a:ext cx="4182574" cy="420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520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JXdEetYhpp1DMX0Jiu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tANtQzAZwXyk2uFh0ZxA"/>
</p:tagLst>
</file>

<file path=ppt/theme/theme1.xml><?xml version="1.0" encoding="utf-8"?>
<a:theme xmlns:a="http://schemas.openxmlformats.org/drawingml/2006/main" name="Theme2">
  <a:themeElements>
    <a:clrScheme name="JobSeeeker_template_final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7E0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heme2" id="{7E4B309D-8F37-44C9-96B4-AD60A91AC7F6}" vid="{EDD04753-F313-4528-90CD-6C1ACFDBC03D}"/>
    </a:ext>
  </a:extLst>
</a:theme>
</file>

<file path=ppt/theme/theme2.xml><?xml version="1.0" encoding="utf-8"?>
<a:theme xmlns:a="http://schemas.openxmlformats.org/drawingml/2006/main" name="Office Theme">
  <a:themeElements>
    <a:clrScheme name="Accenture New">
      <a:dk1>
        <a:srgbClr val="000000"/>
      </a:dk1>
      <a:lt1>
        <a:srgbClr val="FFFFFF"/>
      </a:lt1>
      <a:dk2>
        <a:srgbClr val="96968B"/>
      </a:dk2>
      <a:lt2>
        <a:srgbClr val="E6E6DB"/>
      </a:lt2>
      <a:accent1>
        <a:srgbClr val="A100FE"/>
      </a:accent1>
      <a:accent2>
        <a:srgbClr val="7400C0"/>
      </a:accent2>
      <a:accent3>
        <a:srgbClr val="450172"/>
      </a:accent3>
      <a:accent4>
        <a:srgbClr val="B454A9"/>
      </a:accent4>
      <a:accent5>
        <a:srgbClr val="BD82FF"/>
      </a:accent5>
      <a:accent6>
        <a:srgbClr val="DBAEFF"/>
      </a:accent6>
      <a:hlink>
        <a:srgbClr val="A100FE"/>
      </a:hlink>
      <a:folHlink>
        <a:srgbClr val="7400C0"/>
      </a:folHlink>
    </a:clrScheme>
    <a:fontScheme name="Custom 8">
      <a:majorFont>
        <a:latin typeface="Graphik 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12700">
          <a:noFill/>
        </a:ln>
        <a:effectLst/>
      </a:spPr>
      <a:bodyPr lIns="0" tIns="0" rIns="0" bIns="0" rtlCol="0" anchor="ctr">
        <a:noAutofit/>
      </a:bodyPr>
      <a:lstStyle>
        <a:defPPr algn="ctr">
          <a:defRPr dirty="0">
            <a:solidFill>
              <a:schemeClr val="tx1"/>
            </a:solidFill>
            <a:latin typeface="Graphik Light" panose="020B0403030202060203" pitchFamily="34" charset="77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>
            <a:latin typeface="Graphik Light" panose="020B0403030202060203" pitchFamily="34" charset="77"/>
            <a:cs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B0D1C617FD6F448BFD2A0831AF95C4" ma:contentTypeVersion="9" ma:contentTypeDescription="Create a new document." ma:contentTypeScope="" ma:versionID="9be2caacf526b136eb51c1206bad7328">
  <xsd:schema xmlns:xsd="http://www.w3.org/2001/XMLSchema" xmlns:xs="http://www.w3.org/2001/XMLSchema" xmlns:p="http://schemas.microsoft.com/office/2006/metadata/properties" xmlns:ns2="4889cbdf-1420-4cb7-a4a9-fbb2074c998f" xmlns:ns3="976ca550-ac2c-4644-889f-ee8dfa59785e" targetNamespace="http://schemas.microsoft.com/office/2006/metadata/properties" ma:root="true" ma:fieldsID="0afd1b66816ef8d3080d77d60b6c3448" ns2:_="" ns3:_="">
    <xsd:import namespace="4889cbdf-1420-4cb7-a4a9-fbb2074c998f"/>
    <xsd:import namespace="976ca550-ac2c-4644-889f-ee8dfa59785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9cbdf-1420-4cb7-a4a9-fbb2074c9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6ca550-ac2c-4644-889f-ee8dfa59785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76ca550-ac2c-4644-889f-ee8dfa59785e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C5139AA-4092-4CD1-9C89-BB729EF5C2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89cbdf-1420-4cb7-a4a9-fbb2074c998f"/>
    <ds:schemaRef ds:uri="976ca550-ac2c-4644-889f-ee8dfa5978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EDFF0A-8904-42B6-AEB2-7C60372CB2F4}">
  <ds:schemaRefs>
    <ds:schemaRef ds:uri="0f90e557-2077-4da3-be16-5f0444bf54d6"/>
    <ds:schemaRef ds:uri="a382651e-5e0e-44b2-9d1f-774315943b5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976ca550-ac2c-4644-889f-ee8dfa59785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Strategy_Template_Arial_03_19</Template>
  <TotalTime>19</TotalTime>
  <Words>364</Words>
  <Application>Microsoft Office PowerPoint</Application>
  <PresentationFormat>Widescreen</PresentationFormat>
  <Paragraphs>5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3" baseType="lpstr">
      <vt:lpstr>Arial</vt:lpstr>
      <vt:lpstr>Arial Black</vt:lpstr>
      <vt:lpstr>Courier New</vt:lpstr>
      <vt:lpstr>Graphik</vt:lpstr>
      <vt:lpstr>Graphik Black</vt:lpstr>
      <vt:lpstr>Graphik Bold</vt:lpstr>
      <vt:lpstr>Graphik Extralight</vt:lpstr>
      <vt:lpstr>Graphik Light</vt:lpstr>
      <vt:lpstr>Graphik Medium</vt:lpstr>
      <vt:lpstr>Graphik Regular</vt:lpstr>
      <vt:lpstr>Graphik Semibold</vt:lpstr>
      <vt:lpstr>Graphik Thin</vt:lpstr>
      <vt:lpstr>Graphik-SemiboldItalic</vt:lpstr>
      <vt:lpstr>GT Sectra Fine</vt:lpstr>
      <vt:lpstr>GT Sectra Fine Rg</vt:lpstr>
      <vt:lpstr>Lucida Sans Unicode</vt:lpstr>
      <vt:lpstr>System Font</vt:lpstr>
      <vt:lpstr>Theme2</vt:lpstr>
      <vt:lpstr>Office Theme</vt:lpstr>
      <vt:lpstr>think-cell Slide</vt:lpstr>
      <vt:lpstr>Mini Project User Stories &amp; Acceptance Criteria</vt:lpstr>
      <vt:lpstr>Enter Name, Alternating Turns Demo</vt:lpstr>
      <vt:lpstr>High Score 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ool of Tech</dc:title>
  <dc:creator>Andres, Cathleen E.</dc:creator>
  <cp:lastModifiedBy>Riaz, Khaashif</cp:lastModifiedBy>
  <cp:revision>180</cp:revision>
  <cp:lastPrinted>2019-12-13T14:30:16Z</cp:lastPrinted>
  <dcterms:created xsi:type="dcterms:W3CDTF">2019-10-10T19:19:46Z</dcterms:created>
  <dcterms:modified xsi:type="dcterms:W3CDTF">2022-01-21T12:0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B0D1C617FD6F448BFD2A0831AF95C4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1-10-20T01:04:14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507eb598-2ae7-414c-b8f0-4c1c9347cd1d</vt:lpwstr>
  </property>
  <property fmtid="{D5CDD505-2E9C-101B-9397-08002B2CF9AE}" pid="9" name="MSIP_Label_1bc0f418-96a4-4caf-9d7c-ccc5ec7f9d91_ContentBits">
    <vt:lpwstr>0</vt:lpwstr>
  </property>
  <property fmtid="{D5CDD505-2E9C-101B-9397-08002B2CF9AE}" pid="10" name="LastSaved">
    <vt:filetime>2021-10-15T00:00:00Z</vt:filetime>
  </property>
  <property fmtid="{D5CDD505-2E9C-101B-9397-08002B2CF9AE}" pid="11" name="Created">
    <vt:filetime>2021-09-28T00:00:00Z</vt:filetime>
  </property>
  <property fmtid="{D5CDD505-2E9C-101B-9397-08002B2CF9AE}" pid="12" name="Creator">
    <vt:lpwstr>Decktape</vt:lpwstr>
  </property>
  <property fmtid="{D5CDD505-2E9C-101B-9397-08002B2CF9AE}" pid="13" name="xd_Signature">
    <vt:bool>false</vt:bool>
  </property>
  <property fmtid="{D5CDD505-2E9C-101B-9397-08002B2CF9AE}" pid="14" name="xd_ProgID">
    <vt:lpwstr/>
  </property>
  <property fmtid="{D5CDD505-2E9C-101B-9397-08002B2CF9AE}" pid="15" name="ComplianceAssetId">
    <vt:lpwstr/>
  </property>
  <property fmtid="{D5CDD505-2E9C-101B-9397-08002B2CF9AE}" pid="16" name="TemplateUrl">
    <vt:lpwstr/>
  </property>
  <property fmtid="{D5CDD505-2E9C-101B-9397-08002B2CF9AE}" pid="17" name="_ExtendedDescription">
    <vt:lpwstr/>
  </property>
  <property fmtid="{D5CDD505-2E9C-101B-9397-08002B2CF9AE}" pid="18" name="TriggerFlowInfo">
    <vt:lpwstr/>
  </property>
</Properties>
</file>